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4"/>
  </p:sldMasterIdLst>
  <p:notesMasterIdLst>
    <p:notesMasterId r:id="rId18"/>
  </p:notesMasterIdLst>
  <p:sldIdLst>
    <p:sldId id="256" r:id="rId5"/>
    <p:sldId id="2147198676" r:id="rId6"/>
    <p:sldId id="2147198700" r:id="rId7"/>
    <p:sldId id="2147198701" r:id="rId8"/>
    <p:sldId id="2147198673" r:id="rId9"/>
    <p:sldId id="1601" r:id="rId10"/>
    <p:sldId id="2147198667" r:id="rId11"/>
    <p:sldId id="2147198702" r:id="rId12"/>
    <p:sldId id="2147198699" r:id="rId13"/>
    <p:sldId id="257" r:id="rId14"/>
    <p:sldId id="8004" r:id="rId15"/>
    <p:sldId id="8057" r:id="rId16"/>
    <p:sldId id="2147198703" r:id="rId17"/>
  </p:sldIdLst>
  <p:sldSz cx="12192000" cy="6858000"/>
  <p:notesSz cx="6858000" cy="9144000"/>
  <p:custDataLst>
    <p:tags r:id="rId19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sektion" id="{819466F5-833D-4C90-BE88-23A176342B46}">
          <p14:sldIdLst>
            <p14:sldId id="256"/>
            <p14:sldId id="2147198676"/>
            <p14:sldId id="2147198700"/>
            <p14:sldId id="2147198701"/>
            <p14:sldId id="2147198673"/>
            <p14:sldId id="1601"/>
            <p14:sldId id="2147198667"/>
            <p14:sldId id="2147198702"/>
            <p14:sldId id="2147198699"/>
            <p14:sldId id="257"/>
            <p14:sldId id="8004"/>
            <p14:sldId id="8057"/>
            <p14:sldId id="2147198703"/>
          </p14:sldIdLst>
        </p14:section>
        <p14:section name="Alternative slides" id="{C9DB87C6-D32E-4EE1-9A1B-C906742B315F}">
          <p14:sldIdLst/>
        </p14:section>
      </p14:sectionLst>
    </p:ext>
    <p:ext uri="{EFAFB233-063F-42B5-8137-9DF3F51BA10A}">
      <p15:sldGuideLst xmlns:p15="http://schemas.microsoft.com/office/powerpoint/2012/main">
        <p15:guide id="2" pos="3840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866B4021-0665-C7F0-4AA4-DC099B3D113A}" name="Gustav Damsgaard Ebbesen" initials="GE" userId="S::gde@ewe.dk::6df3950f-854e-4494-896a-309cdedb5639" providerId="AD"/>
  <p188:author id="{1B8C1A7D-04BF-7532-AF80-75561091FB00}" name="Gitte Munkholm Stadsgaard" initials="GMS" userId="S::gms@ewe.dk::6b5c6094-815a-4eec-8204-4d84e8e15be6" providerId="AD"/>
</p188:authorLst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Pia Fisker Olesen" initials="PFO" lastIdx="3" clrIdx="0">
    <p:extLst>
      <p:ext uri="{19B8F6BF-5375-455C-9EA6-DF929625EA0E}">
        <p15:presenceInfo xmlns:p15="http://schemas.microsoft.com/office/powerpoint/2012/main" userId="S::pfo@ewe.dk::3a5ea120-a5c6-4dd4-be33-c8afad8d7a48" providerId="AD"/>
      </p:ext>
    </p:extLst>
  </p:cmAuthor>
  <p:cmAuthor id="2" name="Gitte Munkholm Stadsgaard" initials="GMS" lastIdx="9" clrIdx="1">
    <p:extLst>
      <p:ext uri="{19B8F6BF-5375-455C-9EA6-DF929625EA0E}">
        <p15:presenceInfo xmlns:p15="http://schemas.microsoft.com/office/powerpoint/2012/main" userId="S::gms@ewe.dk::6b5c6094-815a-4eec-8204-4d84e8e15be6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BE1F3"/>
    <a:srgbClr val="C6E1C7"/>
    <a:srgbClr val="F4A9A1"/>
    <a:srgbClr val="F3CFB3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7846549E-C48C-404B-9BA3-D75727100DAE}" v="2" dt="2024-12-10T10:51:14.358"/>
    <p1510:client id="{AD4A397B-7E08-4204-AF13-2FC0E53AD102}" v="2" dt="2024-12-10T10:52:17.279"/>
    <p1510:client id="{E7DDF81C-3AEA-46A4-82C1-DBFDE9505926}" v="6" dt="2024-12-11T08:47:28.743"/>
  </p1510:revLst>
</p1510:revInfo>
</file>

<file path=ppt/tableStyles.xml><?xml version="1.0" encoding="utf-8"?>
<a:tblStyleLst xmlns:a="http://schemas.openxmlformats.org/drawingml/2006/main" def="{5C22544A-7EE6-4342-B048-85BDC9FD1C3A}"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Mellemlayout 2 - Markering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 varScale="1">
        <p:scale>
          <a:sx n="151" d="100"/>
          <a:sy n="151" d="100"/>
        </p:scale>
        <p:origin x="654" y="150"/>
      </p:cViewPr>
      <p:guideLst>
        <p:guide pos="3840"/>
        <p:guide orient="horz" pos="216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notesMaster" Target="notesMasters/notesMaster1.xml"/><Relationship Id="rId26" Type="http://schemas.microsoft.com/office/2018/10/relationships/authors" Target="authors.xml"/><Relationship Id="rId3" Type="http://schemas.openxmlformats.org/officeDocument/2006/relationships/customXml" Target="../customXml/item3.xml"/><Relationship Id="rId21" Type="http://schemas.openxmlformats.org/officeDocument/2006/relationships/presProps" Target="pres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microsoft.com/office/2015/10/relationships/revisionInfo" Target="revisionInfo.xml"/><Relationship Id="rId2" Type="http://schemas.openxmlformats.org/officeDocument/2006/relationships/customXml" Target="../customXml/item2.xml"/><Relationship Id="rId16" Type="http://schemas.openxmlformats.org/officeDocument/2006/relationships/slide" Target="slides/slide12.xml"/><Relationship Id="rId20" Type="http://schemas.openxmlformats.org/officeDocument/2006/relationships/commentAuthors" Target="commentAuthor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tableStyles" Target="tableStyles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heme" Target="theme/theme1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5.0640748031496062E-2"/>
          <c:y val="0.12960574791586982"/>
          <c:w val="0.92435925196850399"/>
          <c:h val="0.8515198856086369"/>
        </c:manualLayout>
      </c:layout>
      <c:barChart>
        <c:barDir val="col"/>
        <c:grouping val="clustered"/>
        <c:varyColors val="0"/>
        <c:ser>
          <c:idx val="0"/>
          <c:order val="0"/>
          <c:tx>
            <c:strRef>
              <c:f>Sheet1!$B$1</c:f>
              <c:strCache>
                <c:ptCount val="1"/>
                <c:pt idx="0">
                  <c:v>Series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5809-47B1-9A05-7C998449B58B}"/>
            </c:ext>
          </c:extLst>
        </c:ser>
        <c:ser>
          <c:idx val="1"/>
          <c:order val="1"/>
          <c:tx>
            <c:strRef>
              <c:f>Sheet1!$C$1</c:f>
              <c:strCache>
                <c:ptCount val="1"/>
                <c:pt idx="0">
                  <c:v>Series 2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Sheet1!$A$2:$A$3</c:f>
              <c:strCache>
                <c:ptCount val="2"/>
                <c:pt idx="0">
                  <c:v>Category 1</c:v>
                </c:pt>
                <c:pt idx="1">
                  <c:v>Category 2</c:v>
                </c:pt>
              </c:strCache>
            </c:strRef>
          </c:cat>
          <c:val>
            <c:numRef>
              <c:f>Sheet1!$C$2:$C$3</c:f>
              <c:numCache>
                <c:formatCode>General</c:formatCode>
                <c:ptCount val="2"/>
                <c:pt idx="0">
                  <c:v>0</c:v>
                </c:pt>
                <c:pt idx="1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1-5809-47B1-9A05-7C998449B58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219"/>
        <c:overlap val="-27"/>
        <c:axId val="1240212832"/>
        <c:axId val="1240214496"/>
      </c:barChart>
      <c:catAx>
        <c:axId val="1240212832"/>
        <c:scaling>
          <c:orientation val="minMax"/>
        </c:scaling>
        <c:delete val="1"/>
        <c:axPos val="b"/>
        <c:numFmt formatCode="General" sourceLinked="1"/>
        <c:majorTickMark val="none"/>
        <c:minorTickMark val="none"/>
        <c:tickLblPos val="nextTo"/>
        <c:crossAx val="1240214496"/>
        <c:crosses val="autoZero"/>
        <c:auto val="1"/>
        <c:lblAlgn val="ctr"/>
        <c:lblOffset val="100"/>
        <c:noMultiLvlLbl val="0"/>
      </c:catAx>
      <c:valAx>
        <c:axId val="1240214496"/>
        <c:scaling>
          <c:orientation val="minMax"/>
          <c:max val="200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1197" b="0" i="0" u="none" strike="noStrike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pPr>
            <a:endParaRPr lang="da-DK"/>
          </a:p>
        </c:txPr>
        <c:crossAx val="1240212832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da-DK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7E2C2200-8054-4B4F-999C-3128E708EABB}" type="datetimeFigureOut">
              <a:rPr lang="da-DK" smtClean="0"/>
              <a:t>16-05-2025</a:t>
            </a:fld>
            <a:endParaRPr lang="da-DK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a-DK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a-DK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13E7839-6E98-4DCE-A3DF-7B8D2962C3B7}" type="slidenum">
              <a:rPr lang="da-DK" smtClean="0"/>
              <a:t>‹#›</a:t>
            </a:fld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33876588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7CC18E6F-D975-9C57-2345-438D02A41F89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ECF643AD-8DBF-87EA-F03F-82A24F1067A2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A339057C-2A38-1C8B-4E8A-862B1EEBDDBA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 dirty="0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4EBA80DE-D7DA-7AC0-8E8C-5FD5118AFD62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90B12E-634C-4CAD-835B-6663408E1A92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586816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56B3F034-44D3-0714-7A77-5C2EFAE864B7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>
            <a:extLst>
              <a:ext uri="{FF2B5EF4-FFF2-40B4-BE49-F238E27FC236}">
                <a16:creationId xmlns:a16="http://schemas.microsoft.com/office/drawing/2014/main" id="{9C43D02B-C5A4-6BC6-EF59-A0A6C86F841C}"/>
              </a:ext>
            </a:extLst>
          </p:cNvPr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>
            <a:extLst>
              <a:ext uri="{FF2B5EF4-FFF2-40B4-BE49-F238E27FC236}">
                <a16:creationId xmlns:a16="http://schemas.microsoft.com/office/drawing/2014/main" id="{7B713F7C-516E-786B-D306-4AA4E182301B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4C8DBE43-5293-6715-D33B-FD85C8C905EB}"/>
              </a:ext>
            </a:extLst>
          </p:cNvPr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90B12E-634C-4CAD-835B-6663408E1A92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679747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dirty="0"/>
              <a:t>Udstyr til hjemmearbejdsplads efter aftale med Nina Bødker. Da jeg sidder hjemme og arbejder med </a:t>
            </a:r>
            <a:r>
              <a:rPr lang="da-DK" dirty="0" err="1"/>
              <a:t>ArcGIS</a:t>
            </a:r>
            <a:r>
              <a:rPr lang="da-DK" dirty="0"/>
              <a:t> PRO, har jeg brug for den store skærm.</a:t>
            </a:r>
          </a:p>
          <a:p>
            <a:endParaRPr lang="da-DK" dirty="0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90B12E-634C-4CAD-835B-6663408E1A9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2008655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90B12E-634C-4CAD-835B-6663408E1A92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7054351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bille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dsholder til no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4" name="Pladsholder til sli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4190B12E-634C-4CAD-835B-6663408E1A9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7306134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9.jpe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0.jpe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e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5.jpeg"/><Relationship Id="rId1" Type="http://schemas.openxmlformats.org/officeDocument/2006/relationships/slideMaster" Target="../slideMasters/slideMaster1.xml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6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7.jpe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7.jpeg"/><Relationship Id="rId1" Type="http://schemas.openxmlformats.org/officeDocument/2006/relationships/slideMaster" Target="../slideMasters/slideMaster1.xml"/></Relationships>
</file>

<file path=ppt/slideLayouts/_rels/slideLayout4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4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8.jpeg"/><Relationship Id="rId1" Type="http://schemas.openxmlformats.org/officeDocument/2006/relationships/slideMaster" Target="../slideMasters/slideMaster1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29.jpeg"/><Relationship Id="rId1" Type="http://schemas.openxmlformats.org/officeDocument/2006/relationships/slideMaster" Target="../slideMasters/slideMaster1.xml"/></Relationships>
</file>

<file path=ppt/slideLayouts/_rels/slideLayout4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1.xml"/></Relationships>
</file>

<file path=ppt/slideLayouts/_rels/slideLayout4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1.jpeg"/><Relationship Id="rId1" Type="http://schemas.openxmlformats.org/officeDocument/2006/relationships/slideMaster" Target="../slideMasters/slideMaster1.xml"/></Relationships>
</file>

<file path=ppt/slideLayouts/_rels/slideLayout4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32.jpeg"/><Relationship Id="rId1" Type="http://schemas.openxmlformats.org/officeDocument/2006/relationships/slideMaster" Target="../slideMasters/slideMaster1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5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5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3.png"/><Relationship Id="rId2" Type="http://schemas.openxmlformats.org/officeDocument/2006/relationships/image" Target="../media/image34.jpe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3" Type="http://schemas.openxmlformats.org/officeDocument/2006/relationships/image" Target="../media/image35.jpeg"/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6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5.jpeg"/><Relationship Id="rId1" Type="http://schemas.openxmlformats.org/officeDocument/2006/relationships/slideMaster" Target="../slideMasters/slideMaster1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7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Master" Target="../slideMasters/slideMaster1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6.png"/><Relationship Id="rId1" Type="http://schemas.openxmlformats.org/officeDocument/2006/relationships/slideMaster" Target="../slideMasters/slideMaster1.xml"/></Relationships>
</file>

<file path=ppt/slideLayouts/_rels/slideLayout79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image" Target="../media/image24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page - changeable image,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3FFAD509-3C5A-4F65-A8F5-EFA49E7D114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algn="ctr">
              <a:defRPr sz="2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Drag and drop a picture, to this placeholder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4DC8FFF-668D-4348-BAB4-FEAF261F83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24000" y="3198600"/>
            <a:ext cx="3744000" cy="4608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37761149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, Bold headline with bullets - white office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0822" y="180157"/>
            <a:ext cx="5079072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0825" y="2565400"/>
            <a:ext cx="5079069" cy="331152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0824" y="981074"/>
            <a:ext cx="5079071" cy="143981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Bold headlines</a:t>
            </a:r>
            <a:br>
              <a:rPr lang="en-US"/>
            </a:br>
            <a:r>
              <a:rPr lang="en-US"/>
              <a:t>with bullets</a:t>
            </a:r>
            <a:endParaRPr lang="en-GB"/>
          </a:p>
        </p:txBody>
      </p:sp>
      <p:sp>
        <p:nvSpPr>
          <p:cNvPr id="2" name="Pladsholder til tekst 4">
            <a:extLst>
              <a:ext uri="{FF2B5EF4-FFF2-40B4-BE49-F238E27FC236}">
                <a16:creationId xmlns:a16="http://schemas.microsoft.com/office/drawing/2014/main" id="{8BCCFEA2-98D3-4B41-D409-234C96DB72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1384" y="6237312"/>
            <a:ext cx="1656184" cy="20383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8141845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, Bold headline with bullets - blue mill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0822" y="180157"/>
            <a:ext cx="507907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0825" y="2565400"/>
            <a:ext cx="5079069" cy="33115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0824" y="981074"/>
            <a:ext cx="5079071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Bold headlines</a:t>
            </a:r>
            <a:br>
              <a:rPr lang="en-US"/>
            </a:br>
            <a:r>
              <a:rPr lang="en-US"/>
              <a:t>with bullets</a:t>
            </a:r>
            <a:endParaRPr lang="en-GB"/>
          </a:p>
        </p:txBody>
      </p:sp>
      <p:sp>
        <p:nvSpPr>
          <p:cNvPr id="9" name="Pladsholder til tekst 4">
            <a:extLst>
              <a:ext uri="{FF2B5EF4-FFF2-40B4-BE49-F238E27FC236}">
                <a16:creationId xmlns:a16="http://schemas.microsoft.com/office/drawing/2014/main" id="{7B853F66-1FF5-1F21-5FD5-D13B9FCEA6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1384" y="6237312"/>
            <a:ext cx="1656184" cy="20383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err="1"/>
              <a:t>Klik</a:t>
            </a:r>
            <a:r>
              <a:rPr lang="en-GB"/>
              <a:t> for at </a:t>
            </a:r>
            <a:r>
              <a:rPr lang="en-GB" err="1"/>
              <a:t>redigere</a:t>
            </a:r>
            <a:r>
              <a:rPr lang="en-GB"/>
              <a:t> </a:t>
            </a:r>
            <a:r>
              <a:rPr lang="en-GB" err="1"/>
              <a:t>teksttypografierne</a:t>
            </a:r>
            <a:r>
              <a:rPr lang="en-GB"/>
              <a:t> </a:t>
            </a:r>
            <a:r>
              <a:rPr lang="en-GB" err="1"/>
              <a:t>i</a:t>
            </a:r>
            <a:r>
              <a:rPr lang="en-GB"/>
              <a:t> </a:t>
            </a:r>
            <a:r>
              <a:rPr lang="en-GB" err="1"/>
              <a:t>master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21034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, Bold headline with bullets - white mi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blipFill>
            <a:blip r:embed="rId2"/>
            <a:stretch>
              <a:fillRect/>
            </a:stretch>
          </a:blip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0822" y="180157"/>
            <a:ext cx="5079072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0825" y="2565400"/>
            <a:ext cx="5079069" cy="331152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0824" y="981074"/>
            <a:ext cx="5079071" cy="143981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Bold headlines</a:t>
            </a:r>
            <a:br>
              <a:rPr lang="en-US"/>
            </a:br>
            <a:r>
              <a:rPr lang="en-US"/>
              <a:t>with bullets</a:t>
            </a:r>
            <a:endParaRPr lang="en-GB"/>
          </a:p>
        </p:txBody>
      </p:sp>
      <p:sp>
        <p:nvSpPr>
          <p:cNvPr id="7" name="Pladsholder til tekst 4">
            <a:extLst>
              <a:ext uri="{FF2B5EF4-FFF2-40B4-BE49-F238E27FC236}">
                <a16:creationId xmlns:a16="http://schemas.microsoft.com/office/drawing/2014/main" id="{E8C4A7EE-ADEC-546A-77FD-F4739442AB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551384" y="6237312"/>
            <a:ext cx="1656184" cy="20383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err="1"/>
              <a:t>Klik</a:t>
            </a:r>
            <a:r>
              <a:rPr lang="en-GB"/>
              <a:t> for at </a:t>
            </a:r>
            <a:r>
              <a:rPr lang="en-GB" err="1"/>
              <a:t>redigere</a:t>
            </a:r>
            <a:r>
              <a:rPr lang="en-GB"/>
              <a:t> </a:t>
            </a:r>
            <a:r>
              <a:rPr lang="en-GB" err="1"/>
              <a:t>teksttypografierne</a:t>
            </a:r>
            <a:r>
              <a:rPr lang="en-GB"/>
              <a:t> </a:t>
            </a:r>
            <a:r>
              <a:rPr lang="en-GB" err="1"/>
              <a:t>i</a:t>
            </a:r>
            <a:r>
              <a:rPr lang="en-GB"/>
              <a:t> </a:t>
            </a:r>
            <a:r>
              <a:rPr lang="en-GB" err="1"/>
              <a:t>master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886921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, Bold headline with bullets - dark blue field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0822" y="180157"/>
            <a:ext cx="507907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0825" y="2565400"/>
            <a:ext cx="5079069" cy="33115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0824" y="981074"/>
            <a:ext cx="5079071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Bold headlines</a:t>
            </a:r>
            <a:br>
              <a:rPr lang="en-US"/>
            </a:br>
            <a:r>
              <a:rPr lang="en-US"/>
              <a:t>with bullets</a:t>
            </a:r>
            <a:endParaRPr lang="en-GB"/>
          </a:p>
        </p:txBody>
      </p:sp>
      <p:sp>
        <p:nvSpPr>
          <p:cNvPr id="2" name="Pladsholder til tekst 4">
            <a:extLst>
              <a:ext uri="{FF2B5EF4-FFF2-40B4-BE49-F238E27FC236}">
                <a16:creationId xmlns:a16="http://schemas.microsoft.com/office/drawing/2014/main" id="{EA75DCA7-E8A7-BC2A-7344-3120B7E51E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1384" y="6237312"/>
            <a:ext cx="1656184" cy="20383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4321468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, Bold headline with bullets - white field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0822" y="180157"/>
            <a:ext cx="5079072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0825" y="2565400"/>
            <a:ext cx="5079069" cy="331152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0824" y="981074"/>
            <a:ext cx="5079071" cy="143981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Bold headlines</a:t>
            </a:r>
            <a:br>
              <a:rPr lang="en-US"/>
            </a:br>
            <a:r>
              <a:rPr lang="en-US"/>
              <a:t>with bullets</a:t>
            </a:r>
            <a:endParaRPr lang="en-GB"/>
          </a:p>
        </p:txBody>
      </p:sp>
      <p:sp>
        <p:nvSpPr>
          <p:cNvPr id="2" name="Pladsholder til tekst 4">
            <a:extLst>
              <a:ext uri="{FF2B5EF4-FFF2-40B4-BE49-F238E27FC236}">
                <a16:creationId xmlns:a16="http://schemas.microsoft.com/office/drawing/2014/main" id="{8BCCFEA2-98D3-4B41-D409-234C96DB72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1384" y="6237312"/>
            <a:ext cx="1656184" cy="20383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8457605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, Bold headline with bullets - Blue">
    <p:bg>
      <p:bgPr>
        <a:solidFill>
          <a:srgbClr val="C6E1C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0822" y="180157"/>
            <a:ext cx="5079072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0825" y="2565400"/>
            <a:ext cx="5079069" cy="3311525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0824" y="981074"/>
            <a:ext cx="5079071" cy="1439813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Bold headlines</a:t>
            </a:r>
            <a:br>
              <a:rPr lang="en-US"/>
            </a:br>
            <a:r>
              <a:rPr lang="en-US"/>
              <a:t>with bullets</a:t>
            </a:r>
            <a:endParaRPr lang="en-GB"/>
          </a:p>
        </p:txBody>
      </p:sp>
      <p:sp>
        <p:nvSpPr>
          <p:cNvPr id="2" name="Pladsholder til tekst 4">
            <a:extLst>
              <a:ext uri="{FF2B5EF4-FFF2-40B4-BE49-F238E27FC236}">
                <a16:creationId xmlns:a16="http://schemas.microsoft.com/office/drawing/2014/main" id="{EA75DCA7-E8A7-BC2A-7344-3120B7E51E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1384" y="6237312"/>
            <a:ext cx="1656184" cy="20383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7042479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, Bold headline with bullets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0822" y="180157"/>
            <a:ext cx="5079072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0825" y="2565400"/>
            <a:ext cx="5079069" cy="3311525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0824" y="981074"/>
            <a:ext cx="5079071" cy="143981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US"/>
              <a:t>Bold headlines</a:t>
            </a:r>
            <a:br>
              <a:rPr lang="en-US"/>
            </a:br>
            <a:r>
              <a:rPr lang="en-US"/>
              <a:t>with bullets</a:t>
            </a:r>
            <a:endParaRPr lang="en-GB"/>
          </a:p>
        </p:txBody>
      </p:sp>
      <p:sp>
        <p:nvSpPr>
          <p:cNvPr id="2" name="Pladsholder til tekst 4">
            <a:extLst>
              <a:ext uri="{FF2B5EF4-FFF2-40B4-BE49-F238E27FC236}">
                <a16:creationId xmlns:a16="http://schemas.microsoft.com/office/drawing/2014/main" id="{8BCCFEA2-98D3-4B41-D409-234C96DB72AF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1384" y="6237312"/>
            <a:ext cx="1656184" cy="20383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4684869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with text/image - white">
    <p:bg>
      <p:bgPr>
        <a:solidFill>
          <a:srgbClr val="CBE1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 algn="ctr"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0"/>
            <a:ext cx="5083176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075238" cy="1439813"/>
          </a:xfrm>
        </p:spPr>
        <p:txBody>
          <a:bodyPr/>
          <a:lstStyle/>
          <a:p>
            <a:r>
              <a:rPr lang="en-GB"/>
              <a:t>Bold headline</a:t>
            </a:r>
            <a:br>
              <a:rPr lang="en-GB"/>
            </a:br>
            <a:r>
              <a:rPr lang="en-GB"/>
              <a:t>with text/image</a:t>
            </a:r>
          </a:p>
        </p:txBody>
      </p:sp>
    </p:spTree>
    <p:extLst>
      <p:ext uri="{BB962C8B-B14F-4D97-AF65-F5344CB8AC3E}">
        <p14:creationId xmlns:p14="http://schemas.microsoft.com/office/powerpoint/2010/main" val="212661641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ld headline with text/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>
            <a:normAutofit/>
          </a:bodyPr>
          <a:lstStyle>
            <a:lvl1pPr algn="ctr"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0"/>
            <a:ext cx="5083176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075238" cy="1439813"/>
          </a:xfrm>
        </p:spPr>
        <p:txBody>
          <a:bodyPr/>
          <a:lstStyle/>
          <a:p>
            <a:r>
              <a:rPr lang="en-GB"/>
              <a:t>Bold headline</a:t>
            </a:r>
            <a:br>
              <a:rPr lang="en-GB"/>
            </a:br>
            <a:r>
              <a:rPr lang="en-GB"/>
              <a:t>with text/image</a:t>
            </a:r>
          </a:p>
        </p:txBody>
      </p:sp>
    </p:spTree>
    <p:extLst>
      <p:ext uri="{BB962C8B-B14F-4D97-AF65-F5344CB8AC3E}">
        <p14:creationId xmlns:p14="http://schemas.microsoft.com/office/powerpoint/2010/main" val="167949817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old headline with text/image - light brown">
    <p:bg>
      <p:bgPr>
        <a:solidFill>
          <a:srgbClr val="F3CFB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0"/>
            <a:ext cx="5083176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075238" cy="1439813"/>
          </a:xfrm>
        </p:spPr>
        <p:txBody>
          <a:bodyPr/>
          <a:lstStyle/>
          <a:p>
            <a:r>
              <a:rPr lang="en-GB"/>
              <a:t>Bold headline</a:t>
            </a:r>
            <a:br>
              <a:rPr lang="en-GB"/>
            </a:br>
            <a:r>
              <a:rPr lang="en-GB"/>
              <a:t>with text/image</a:t>
            </a:r>
          </a:p>
        </p:txBody>
      </p:sp>
    </p:spTree>
    <p:extLst>
      <p:ext uri="{BB962C8B-B14F-4D97-AF65-F5344CB8AC3E}">
        <p14:creationId xmlns:p14="http://schemas.microsoft.com/office/powerpoint/2010/main" val="1265795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page - changeable image,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3FFAD509-3C5A-4F65-A8F5-EFA49E7D114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algn="ctr">
              <a:defRPr sz="2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Drag and drop a picture, to this placeholder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4DC8FFF-668D-4348-BAB4-FEAF261F83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24000" y="3198600"/>
            <a:ext cx="3744000" cy="4608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1636119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 headline with text/image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1"/>
            <a:ext cx="5075238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328034" cy="1511822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GB"/>
              <a:t>Small headline in bold.</a:t>
            </a:r>
            <a:br>
              <a:rPr lang="en-GB"/>
            </a:br>
            <a:r>
              <a:rPr lang="en-GB"/>
              <a:t>This type works well for longer headlines or less space</a:t>
            </a:r>
          </a:p>
        </p:txBody>
      </p:sp>
    </p:spTree>
    <p:extLst>
      <p:ext uri="{BB962C8B-B14F-4D97-AF65-F5344CB8AC3E}">
        <p14:creationId xmlns:p14="http://schemas.microsoft.com/office/powerpoint/2010/main" val="1976830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3 columns -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03812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92244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524278" cy="143981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wo line headline in bold with 3 columns</a:t>
            </a:r>
          </a:p>
        </p:txBody>
      </p:sp>
      <p:pic>
        <p:nvPicPr>
          <p:cNvPr id="3" name="Billede 10">
            <a:extLst>
              <a:ext uri="{FF2B5EF4-FFF2-40B4-BE49-F238E27FC236}">
                <a16:creationId xmlns:a16="http://schemas.microsoft.com/office/drawing/2014/main" id="{49DD77B0-D593-5997-04FC-D06F9B1710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8" y="6345324"/>
            <a:ext cx="1519660" cy="18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789266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3 columns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03812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92244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524278" cy="143981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wo line headline in bold with 3 columns</a:t>
            </a:r>
          </a:p>
        </p:txBody>
      </p:sp>
      <p:pic>
        <p:nvPicPr>
          <p:cNvPr id="3" name="Billede 10">
            <a:extLst>
              <a:ext uri="{FF2B5EF4-FFF2-40B4-BE49-F238E27FC236}">
                <a16:creationId xmlns:a16="http://schemas.microsoft.com/office/drawing/2014/main" id="{49DD77B0-D593-5997-04FC-D06F9B1710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8" y="6345324"/>
            <a:ext cx="1519660" cy="18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9846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3 columns - light gree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03812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92244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524278" cy="143981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wo line headline in bold with 3 columns</a:t>
            </a:r>
          </a:p>
        </p:txBody>
      </p:sp>
      <p:pic>
        <p:nvPicPr>
          <p:cNvPr id="3" name="Billede 10">
            <a:extLst>
              <a:ext uri="{FF2B5EF4-FFF2-40B4-BE49-F238E27FC236}">
                <a16:creationId xmlns:a16="http://schemas.microsoft.com/office/drawing/2014/main" id="{49DD77B0-D593-5997-04FC-D06F9B1710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8" y="6345324"/>
            <a:ext cx="1519660" cy="18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90460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3 columns - light brow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03812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92244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524278" cy="143981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wo line headline in bold with 3 columns</a:t>
            </a:r>
          </a:p>
        </p:txBody>
      </p:sp>
      <p:pic>
        <p:nvPicPr>
          <p:cNvPr id="3" name="Billede 10">
            <a:extLst>
              <a:ext uri="{FF2B5EF4-FFF2-40B4-BE49-F238E27FC236}">
                <a16:creationId xmlns:a16="http://schemas.microsoft.com/office/drawing/2014/main" id="{49DD77B0-D593-5997-04FC-D06F9B17105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8" y="6345324"/>
            <a:ext cx="1519660" cy="18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913276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3 columns - re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03812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92244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524278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wo line headline in bold with 3 columns</a:t>
            </a:r>
          </a:p>
        </p:txBody>
      </p:sp>
      <p:pic>
        <p:nvPicPr>
          <p:cNvPr id="11" name="Picture 1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27F022B-4323-0443-A3F8-CC3BBBE34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778293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3 columns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03812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92244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524278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wo line headline in bold with 3 columns</a:t>
            </a:r>
          </a:p>
        </p:txBody>
      </p:sp>
      <p:pic>
        <p:nvPicPr>
          <p:cNvPr id="11" name="Picture 1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27F022B-4323-0443-A3F8-CC3BBBE34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185267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3 columns - brow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03812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92244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524278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wo line headline in bold with 3 columns</a:t>
            </a:r>
          </a:p>
        </p:txBody>
      </p:sp>
      <p:pic>
        <p:nvPicPr>
          <p:cNvPr id="11" name="Picture 1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27F022B-4323-0443-A3F8-CC3BBBE34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391167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3 columns -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403812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8292244" y="2565400"/>
            <a:ext cx="3384000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524278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wo line headline in bold with 3 columns</a:t>
            </a:r>
          </a:p>
        </p:txBody>
      </p:sp>
      <p:pic>
        <p:nvPicPr>
          <p:cNvPr id="11" name="Picture 10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E27F022B-4323-0443-A3F8-CC3BBBE34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7401232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4 columns -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32263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B59B5D2-1146-488D-8CA2-73E4329E720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48587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264911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814029" cy="143981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wo line headline in bold with 4 columns</a:t>
            </a:r>
          </a:p>
        </p:txBody>
      </p:sp>
      <p:pic>
        <p:nvPicPr>
          <p:cNvPr id="2" name="Billede 10">
            <a:extLst>
              <a:ext uri="{FF2B5EF4-FFF2-40B4-BE49-F238E27FC236}">
                <a16:creationId xmlns:a16="http://schemas.microsoft.com/office/drawing/2014/main" id="{FE227A08-F4EC-8E0F-92BF-B52AA94BDD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8" y="6345324"/>
            <a:ext cx="1519660" cy="18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4705682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Coverpage - changeable image,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3FFAD509-3C5A-4F65-A8F5-EFA49E7D114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algn="ctr">
              <a:defRPr sz="2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Drag and drop a picture, to this placeholder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4DC8FFF-668D-4348-BAB4-FEAF261F83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24000" y="3198600"/>
            <a:ext cx="3744000" cy="4608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30461493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4 columns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32263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B59B5D2-1146-488D-8CA2-73E4329E720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48587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264911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814029" cy="143981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wo line headline in bold with 4 columns</a:t>
            </a:r>
          </a:p>
        </p:txBody>
      </p:sp>
      <p:pic>
        <p:nvPicPr>
          <p:cNvPr id="2" name="Billede 10">
            <a:extLst>
              <a:ext uri="{FF2B5EF4-FFF2-40B4-BE49-F238E27FC236}">
                <a16:creationId xmlns:a16="http://schemas.microsoft.com/office/drawing/2014/main" id="{FE227A08-F4EC-8E0F-92BF-B52AA94BDD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8" y="6345324"/>
            <a:ext cx="1519660" cy="18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07863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4 columns - light gree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32263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B59B5D2-1146-488D-8CA2-73E4329E720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48587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264911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814029" cy="143981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wo line headline in bold with 4 columns</a:t>
            </a:r>
          </a:p>
        </p:txBody>
      </p:sp>
      <p:pic>
        <p:nvPicPr>
          <p:cNvPr id="2" name="Billede 10">
            <a:extLst>
              <a:ext uri="{FF2B5EF4-FFF2-40B4-BE49-F238E27FC236}">
                <a16:creationId xmlns:a16="http://schemas.microsoft.com/office/drawing/2014/main" id="{FE227A08-F4EC-8E0F-92BF-B52AA94BDD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8" y="6345324"/>
            <a:ext cx="1519660" cy="18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86600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4 columns - light brow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32263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B59B5D2-1146-488D-8CA2-73E4329E720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48587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264911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814029" cy="143981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wo line headline in bold with 4 columns</a:t>
            </a:r>
          </a:p>
        </p:txBody>
      </p:sp>
      <p:pic>
        <p:nvPicPr>
          <p:cNvPr id="2" name="Billede 10">
            <a:extLst>
              <a:ext uri="{FF2B5EF4-FFF2-40B4-BE49-F238E27FC236}">
                <a16:creationId xmlns:a16="http://schemas.microsoft.com/office/drawing/2014/main" id="{FE227A08-F4EC-8E0F-92BF-B52AA94BDD0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8" y="6345324"/>
            <a:ext cx="1519660" cy="18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40926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4 columns - re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32263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B59B5D2-1146-488D-8CA2-73E4329E720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48587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264911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814029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wo line headline in bold with 4 columns</a:t>
            </a:r>
          </a:p>
        </p:txBody>
      </p:sp>
      <p:pic>
        <p:nvPicPr>
          <p:cNvPr id="14" name="Picture 1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D0C9EA0-2DC6-0542-A34A-D58498BDAC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7511045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4 columns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32263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B59B5D2-1146-488D-8CA2-73E4329E720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48587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264911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814029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wo line headline in bold with 4 columns</a:t>
            </a:r>
          </a:p>
        </p:txBody>
      </p:sp>
      <p:pic>
        <p:nvPicPr>
          <p:cNvPr id="14" name="Picture 1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D0C9EA0-2DC6-0542-A34A-D58498BDAC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5950215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4 columns - brow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32263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B59B5D2-1146-488D-8CA2-73E4329E720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48587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264911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814029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wo line headline in bold with 4 columns</a:t>
            </a:r>
          </a:p>
        </p:txBody>
      </p:sp>
      <p:pic>
        <p:nvPicPr>
          <p:cNvPr id="14" name="Picture 1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D0C9EA0-2DC6-0542-A34A-D58498BDAC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419622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wo line headline in bold with 4 columns -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0EF8AE2F-950C-4609-ADDD-EA86FD5B5FA0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32263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FB59B5D2-1146-488D-8CA2-73E4329E7207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48587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2" name="Content Placeholder 8">
            <a:extLst>
              <a:ext uri="{FF2B5EF4-FFF2-40B4-BE49-F238E27FC236}">
                <a16:creationId xmlns:a16="http://schemas.microsoft.com/office/drawing/2014/main" id="{AF1CBA2C-0EF7-4F55-8E37-C6C3E85BF03C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264911" y="2565400"/>
            <a:ext cx="262773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3DF17812-2A89-4855-B298-A02EAC0351A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7814029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wo line headline in bold with 4 columns</a:t>
            </a:r>
          </a:p>
        </p:txBody>
      </p:sp>
      <p:pic>
        <p:nvPicPr>
          <p:cNvPr id="14" name="Picture 13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CD0C9EA0-2DC6-0542-A34A-D58498BDAC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298632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with textbox/background image - Helix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916FDB6-985A-4325-8F16-CB4887DD7C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DBA50A1-B064-42AD-BA7E-9DC2FE1C85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A5BFBAD-6E89-4D09-9517-C0E5F714E7EA}" type="datetime1">
              <a:rPr lang="en-GB" smtClean="0"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DDB4FC4-2CE5-4347-8044-7A95CBEB8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400C19E-1109-477C-BFBC-59B9C2F23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B54C84-D28E-4EED-A341-62D42E032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Bold headlines with</a:t>
            </a:r>
            <a:br>
              <a:rPr lang="en-GB"/>
            </a:br>
            <a:r>
              <a:rPr lang="en-GB"/>
              <a:t>text/background imag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5B59C54-DAAA-4D56-B70A-664BE5F1AB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5075238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3" name="Pladsholder til tekst 4">
            <a:extLst>
              <a:ext uri="{FF2B5EF4-FFF2-40B4-BE49-F238E27FC236}">
                <a16:creationId xmlns:a16="http://schemas.microsoft.com/office/drawing/2014/main" id="{5DCBA072-49A9-1DE5-5D52-935C9A5D3D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1384" y="6237312"/>
            <a:ext cx="1656184" cy="20383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8244863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with text/background image - happ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916FDB6-985A-4325-8F16-CB4887DD7C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DBA50A1-B064-42AD-BA7E-9DC2FE1C85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A5BFBAD-6E89-4D09-9517-C0E5F714E7EA}" type="datetime1">
              <a:rPr lang="en-GB" smtClean="0"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DDB4FC4-2CE5-4347-8044-7A95CBEB8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400C19E-1109-477C-BFBC-59B9C2F23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B54C84-D28E-4EED-A341-62D42E032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Bold headline with</a:t>
            </a:r>
            <a:br>
              <a:rPr lang="en-GB"/>
            </a:br>
            <a:r>
              <a:rPr lang="en-GB"/>
              <a:t>text/background imag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5B59C54-DAAA-4D56-B70A-664BE5F1AB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5075238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Pladsholder til tekst 4">
            <a:extLst>
              <a:ext uri="{FF2B5EF4-FFF2-40B4-BE49-F238E27FC236}">
                <a16:creationId xmlns:a16="http://schemas.microsoft.com/office/drawing/2014/main" id="{FD395E4B-0F2B-57A2-F923-12350BDD0CA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1384" y="6237312"/>
            <a:ext cx="1656184" cy="20383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33364379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with text/background image - electricity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916FDB6-985A-4325-8F16-CB4887DD7C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DBA50A1-B064-42AD-BA7E-9DC2FE1C85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A5BFBAD-6E89-4D09-9517-C0E5F714E7EA}" type="datetime1">
              <a:rPr lang="en-GB" smtClean="0"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DDB4FC4-2CE5-4347-8044-7A95CBEB8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400C19E-1109-477C-BFBC-59B9C2F23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B54C84-D28E-4EED-A341-62D42E032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Bold headlines with</a:t>
            </a:r>
            <a:br>
              <a:rPr lang="en-GB"/>
            </a:br>
            <a:r>
              <a:rPr lang="en-GB"/>
              <a:t>text/background imag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5B59C54-DAAA-4D56-B70A-664BE5F1AB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5075238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3" name="Pladsholder til tekst 4">
            <a:extLst>
              <a:ext uri="{FF2B5EF4-FFF2-40B4-BE49-F238E27FC236}">
                <a16:creationId xmlns:a16="http://schemas.microsoft.com/office/drawing/2014/main" id="{5DCBA072-49A9-1DE5-5D52-935C9A5D3D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1384" y="6237312"/>
            <a:ext cx="1656184" cy="20383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31035958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Coverpage - changeable image, dar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3FFAD509-3C5A-4F65-A8F5-EFA49E7D1140}"/>
              </a:ext>
              <a:ext uri="{C183D7F6-B498-43B3-948B-1728B52AA6E4}">
                <adec:decorative xmlns:adec="http://schemas.microsoft.com/office/drawing/2017/decorative" val="0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/>
            <a:stretch>
              <a:fillRect/>
            </a:stretch>
          </a:blipFill>
        </p:spPr>
        <p:txBody>
          <a:bodyPr/>
          <a:lstStyle>
            <a:lvl1pPr algn="ctr">
              <a:defRPr sz="2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Drag and drop a picture, to this placeholder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4DC8FFF-668D-4348-BAB4-FEAF261F8322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24000" y="3198600"/>
            <a:ext cx="3744000" cy="4608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06707893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with text/background image - smile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916FDB6-985A-4325-8F16-CB4887DD7C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DBA50A1-B064-42AD-BA7E-9DC2FE1C85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A5BFBAD-6E89-4D09-9517-C0E5F714E7EA}" type="datetime1">
              <a:rPr lang="en-GB" smtClean="0"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DDB4FC4-2CE5-4347-8044-7A95CBEB8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400C19E-1109-477C-BFBC-59B9C2F23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B54C84-D28E-4EED-A341-62D42E032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Bold headlines with</a:t>
            </a:r>
            <a:br>
              <a:rPr lang="en-GB"/>
            </a:br>
            <a:r>
              <a:rPr lang="en-GB"/>
              <a:t>text/background imag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5B59C54-DAAA-4D56-B70A-664BE5F1AB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5075238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3" name="Pladsholder til tekst 4">
            <a:extLst>
              <a:ext uri="{FF2B5EF4-FFF2-40B4-BE49-F238E27FC236}">
                <a16:creationId xmlns:a16="http://schemas.microsoft.com/office/drawing/2014/main" id="{5DCBA072-49A9-1DE5-5D52-935C9A5D3D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1384" y="6237312"/>
            <a:ext cx="1656184" cy="20383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19217010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with text/background image - offic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916FDB6-985A-4325-8F16-CB4887DD7C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DBA50A1-B064-42AD-BA7E-9DC2FE1C85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A5BFBAD-6E89-4D09-9517-C0E5F714E7EA}" type="datetime1">
              <a:rPr lang="en-GB" smtClean="0"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DDB4FC4-2CE5-4347-8044-7A95CBEB8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400C19E-1109-477C-BFBC-59B9C2F23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B54C84-D28E-4EED-A341-62D42E032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Bold headlines with</a:t>
            </a:r>
            <a:br>
              <a:rPr lang="en-GB"/>
            </a:br>
            <a:r>
              <a:rPr lang="en-GB"/>
              <a:t>text/background imag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5B59C54-DAAA-4D56-B70A-664BE5F1AB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5075238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3" name="Pladsholder til tekst 4">
            <a:extLst>
              <a:ext uri="{FF2B5EF4-FFF2-40B4-BE49-F238E27FC236}">
                <a16:creationId xmlns:a16="http://schemas.microsoft.com/office/drawing/2014/main" id="{5DCBA072-49A9-1DE5-5D52-935C9A5D3D7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1384" y="6237312"/>
            <a:ext cx="1656184" cy="20383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1629821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with three columns - dar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">
            <a:extLst>
              <a:ext uri="{FF2B5EF4-FFF2-40B4-BE49-F238E27FC236}">
                <a16:creationId xmlns:a16="http://schemas.microsoft.com/office/drawing/2014/main" id="{D40A5BA1-A5ED-16B4-4E13-1CC57DA7D1E3}"/>
              </a:ext>
            </a:extLst>
          </p:cNvPr>
          <p:cNvSpPr txBox="1">
            <a:spLocks/>
          </p:cNvSpPr>
          <p:nvPr userDrawn="1"/>
        </p:nvSpPr>
        <p:spPr>
          <a:xfrm>
            <a:off x="2999656" y="0"/>
            <a:ext cx="9192344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anchor="b" anchorCtr="0"/>
          <a:lstStyle/>
          <a:p>
            <a:r>
              <a:rPr lang="da-DK"/>
              <a:t>v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DBA50A1-B064-42AD-BA7E-9DC2FE1C85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BA5BFBAD-6E89-4D09-9517-C0E5F714E7EA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DDB4FC4-2CE5-4347-8044-7A95CBEB8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380" y="180157"/>
            <a:ext cx="2268252" cy="3651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400C19E-1109-477C-BFBC-59B9C2F23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B54C84-D28E-4EED-A341-62D42E032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2267694" cy="1439813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Head-lin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5B59C54-DAAA-4D56-B70A-664BE5F1AB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2267693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3" name="Content Placeholder 8">
            <a:extLst>
              <a:ext uri="{FF2B5EF4-FFF2-40B4-BE49-F238E27FC236}">
                <a16:creationId xmlns:a16="http://schemas.microsoft.com/office/drawing/2014/main" id="{CB1607B5-9313-D7CE-DE76-3F346C418A12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32263" y="1700808"/>
            <a:ext cx="2627733" cy="417611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F67B473C-3C02-D736-1681-D2225E7CAD2C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48587" y="1700808"/>
            <a:ext cx="2627733" cy="417611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B06830B6-D573-9313-835F-955A6D320ED5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264911" y="1700808"/>
            <a:ext cx="2627733" cy="4176117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0" name="Text Placeholder 8">
            <a:extLst>
              <a:ext uri="{FF2B5EF4-FFF2-40B4-BE49-F238E27FC236}">
                <a16:creationId xmlns:a16="http://schemas.microsoft.com/office/drawing/2014/main" id="{F912AD7C-A2A4-18E3-8537-1256BA53D63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32175" y="908050"/>
            <a:ext cx="2627733" cy="575718"/>
          </a:xfrm>
        </p:spPr>
        <p:txBody>
          <a:bodyPr anchor="b" anchorCtr="0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2000" b="1">
                <a:solidFill>
                  <a:schemeClr val="bg1"/>
                </a:solidFill>
              </a:defRPr>
            </a:lvl4pPr>
            <a:lvl5pPr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Subheader</a:t>
            </a:r>
            <a:endParaRPr lang="da-DK"/>
          </a:p>
        </p:txBody>
      </p:sp>
      <p:sp>
        <p:nvSpPr>
          <p:cNvPr id="12" name="Text Placeholder 8">
            <a:extLst>
              <a:ext uri="{FF2B5EF4-FFF2-40B4-BE49-F238E27FC236}">
                <a16:creationId xmlns:a16="http://schemas.microsoft.com/office/drawing/2014/main" id="{09864600-399D-BBD8-981F-6881A5AB36F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48587" y="908050"/>
            <a:ext cx="2627733" cy="575718"/>
          </a:xfrm>
        </p:spPr>
        <p:txBody>
          <a:bodyPr anchor="b" anchorCtr="0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2000" b="1">
                <a:solidFill>
                  <a:schemeClr val="bg1"/>
                </a:solidFill>
              </a:defRPr>
            </a:lvl4pPr>
            <a:lvl5pPr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Subheader</a:t>
            </a:r>
            <a:endParaRPr lang="da-DK"/>
          </a:p>
        </p:txBody>
      </p:sp>
      <p:sp>
        <p:nvSpPr>
          <p:cNvPr id="20" name="Text Placeholder 8">
            <a:extLst>
              <a:ext uri="{FF2B5EF4-FFF2-40B4-BE49-F238E27FC236}">
                <a16:creationId xmlns:a16="http://schemas.microsoft.com/office/drawing/2014/main" id="{A963CA1F-31AF-E73B-AB9C-79D14DD9E83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65523" y="908050"/>
            <a:ext cx="2627733" cy="575718"/>
          </a:xfrm>
        </p:spPr>
        <p:txBody>
          <a:bodyPr anchor="b" anchorCtr="0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2000" b="1">
                <a:solidFill>
                  <a:schemeClr val="bg1"/>
                </a:solidFill>
              </a:defRPr>
            </a:lvl4pPr>
            <a:lvl5pPr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Subhead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4382472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bar with three columns - ligh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1">
            <a:extLst>
              <a:ext uri="{FF2B5EF4-FFF2-40B4-BE49-F238E27FC236}">
                <a16:creationId xmlns:a16="http://schemas.microsoft.com/office/drawing/2014/main" id="{D40A5BA1-A5ED-16B4-4E13-1CC57DA7D1E3}"/>
              </a:ext>
            </a:extLst>
          </p:cNvPr>
          <p:cNvSpPr txBox="1">
            <a:spLocks/>
          </p:cNvSpPr>
          <p:nvPr userDrawn="1"/>
        </p:nvSpPr>
        <p:spPr>
          <a:xfrm flipH="1">
            <a:off x="0" y="0"/>
            <a:ext cx="2999656" cy="6858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/>
          <a:lstStyle/>
          <a:p>
            <a:r>
              <a:rPr lang="da-DK"/>
              <a:t>v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DBA50A1-B064-42AD-BA7E-9DC2FE1C85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BA5BFBAD-6E89-4D09-9517-C0E5F714E7EA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DDB4FC4-2CE5-4347-8044-7A95CBEB8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515380" y="180157"/>
            <a:ext cx="226825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400C19E-1109-477C-BFBC-59B9C2F23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B54C84-D28E-4EED-A341-62D42E032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2267694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Head-lin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5B59C54-DAAA-4D56-B70A-664BE5F1AB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2267693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Content Placeholder 8">
            <a:extLst>
              <a:ext uri="{FF2B5EF4-FFF2-40B4-BE49-F238E27FC236}">
                <a16:creationId xmlns:a16="http://schemas.microsoft.com/office/drawing/2014/main" id="{A9BDED2E-2EC4-7BD4-54D7-498CF122634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3432263" y="1700808"/>
            <a:ext cx="2627733" cy="4176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0" name="Content Placeholder 8">
            <a:extLst>
              <a:ext uri="{FF2B5EF4-FFF2-40B4-BE49-F238E27FC236}">
                <a16:creationId xmlns:a16="http://schemas.microsoft.com/office/drawing/2014/main" id="{FACD0A4F-0D96-1FFC-86D4-63B0BA019C7B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6348587" y="1700808"/>
            <a:ext cx="2627733" cy="4176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1" name="Content Placeholder 8">
            <a:extLst>
              <a:ext uri="{FF2B5EF4-FFF2-40B4-BE49-F238E27FC236}">
                <a16:creationId xmlns:a16="http://schemas.microsoft.com/office/drawing/2014/main" id="{AF52E903-6A5F-6E72-BF6D-B512C5F918B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9264911" y="1700808"/>
            <a:ext cx="2627733" cy="4176117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0F0ABAA1-E9D7-EAD6-E9FE-F88362AFBCB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  <p:sp>
        <p:nvSpPr>
          <p:cNvPr id="15" name="Text Placeholder 8">
            <a:extLst>
              <a:ext uri="{FF2B5EF4-FFF2-40B4-BE49-F238E27FC236}">
                <a16:creationId xmlns:a16="http://schemas.microsoft.com/office/drawing/2014/main" id="{8FD749F8-40B5-DF62-57F5-490039695EC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432175" y="908050"/>
            <a:ext cx="2627733" cy="575718"/>
          </a:xfrm>
        </p:spPr>
        <p:txBody>
          <a:bodyPr anchor="b" anchorCtr="0">
            <a:no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2000" b="1">
                <a:solidFill>
                  <a:schemeClr val="bg1"/>
                </a:solidFill>
              </a:defRPr>
            </a:lvl4pPr>
            <a:lvl5pPr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Subheader</a:t>
            </a:r>
            <a:endParaRPr lang="da-DK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A965F073-C600-5167-91E3-893BE7740478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348587" y="908050"/>
            <a:ext cx="2627733" cy="575718"/>
          </a:xfrm>
        </p:spPr>
        <p:txBody>
          <a:bodyPr anchor="b" anchorCtr="0">
            <a:no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2000" b="1">
                <a:solidFill>
                  <a:schemeClr val="bg1"/>
                </a:solidFill>
              </a:defRPr>
            </a:lvl4pPr>
            <a:lvl5pPr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Subheader</a:t>
            </a:r>
            <a:endParaRPr lang="da-DK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3BF7C88D-867F-B980-47BE-27C9E65D687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265523" y="908050"/>
            <a:ext cx="2627733" cy="575718"/>
          </a:xfrm>
        </p:spPr>
        <p:txBody>
          <a:bodyPr anchor="b" anchorCtr="0">
            <a:no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2000" b="1">
                <a:solidFill>
                  <a:schemeClr val="bg1"/>
                </a:solidFill>
              </a:defRPr>
            </a:lvl4pPr>
            <a:lvl5pPr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Subhead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21724067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picture, headline and two columns -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841200" cy="685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67808" y="180157"/>
            <a:ext cx="507907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67811" y="2924944"/>
            <a:ext cx="3384373" cy="316835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67810" y="981075"/>
            <a:ext cx="7312085" cy="1295798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Bold headline</a:t>
            </a:r>
            <a:br>
              <a:rPr lang="en-US"/>
            </a:br>
            <a:r>
              <a:rPr lang="en-US"/>
              <a:t>with text and image</a:t>
            </a:r>
            <a:endParaRPr lang="en-GB"/>
          </a:p>
        </p:txBody>
      </p:sp>
      <p:sp>
        <p:nvSpPr>
          <p:cNvPr id="2" name="Pladsholder til tekst 4">
            <a:extLst>
              <a:ext uri="{FF2B5EF4-FFF2-40B4-BE49-F238E27FC236}">
                <a16:creationId xmlns:a16="http://schemas.microsoft.com/office/drawing/2014/main" id="{EA75DCA7-E8A7-BC2A-7344-3120B7E51E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1384" y="6237312"/>
            <a:ext cx="1656184" cy="20383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8EE658BF-03B1-E261-B73C-E564203863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98788" y="2924944"/>
            <a:ext cx="3384373" cy="316835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6" name="Text Placeholder 8">
            <a:extLst>
              <a:ext uri="{FF2B5EF4-FFF2-40B4-BE49-F238E27FC236}">
                <a16:creationId xmlns:a16="http://schemas.microsoft.com/office/drawing/2014/main" id="{A944F3F1-BFCC-B129-013C-B7186FDE993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58379" y="2348879"/>
            <a:ext cx="3384373" cy="432049"/>
          </a:xfrm>
        </p:spPr>
        <p:txBody>
          <a:bodyPr anchor="b" anchorCtr="0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2000" b="1">
                <a:solidFill>
                  <a:schemeClr val="bg1"/>
                </a:solidFill>
              </a:defRPr>
            </a:lvl4pPr>
            <a:lvl5pPr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Subheader</a:t>
            </a:r>
            <a:endParaRPr lang="da-DK"/>
          </a:p>
        </p:txBody>
      </p:sp>
      <p:sp>
        <p:nvSpPr>
          <p:cNvPr id="17" name="Text Placeholder 8">
            <a:extLst>
              <a:ext uri="{FF2B5EF4-FFF2-40B4-BE49-F238E27FC236}">
                <a16:creationId xmlns:a16="http://schemas.microsoft.com/office/drawing/2014/main" id="{BFCEAC8E-6732-F9AE-B913-1C084F1E4573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89359" y="2348879"/>
            <a:ext cx="3393802" cy="432049"/>
          </a:xfrm>
        </p:spPr>
        <p:txBody>
          <a:bodyPr anchor="b" anchorCtr="0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2000" b="1">
                <a:solidFill>
                  <a:schemeClr val="bg1"/>
                </a:solidFill>
              </a:defRPr>
            </a:lvl4pPr>
            <a:lvl5pPr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Subhead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451564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picture, headline and two columns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841200" cy="685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67808" y="180157"/>
            <a:ext cx="507907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67811" y="2924944"/>
            <a:ext cx="3384373" cy="316835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67810" y="981075"/>
            <a:ext cx="7312085" cy="1295798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Bold headline</a:t>
            </a:r>
            <a:br>
              <a:rPr lang="en-US"/>
            </a:br>
            <a:r>
              <a:rPr lang="en-US"/>
              <a:t>with text and image</a:t>
            </a:r>
            <a:endParaRPr lang="en-GB"/>
          </a:p>
        </p:txBody>
      </p:sp>
      <p:sp>
        <p:nvSpPr>
          <p:cNvPr id="2" name="Pladsholder til tekst 4">
            <a:extLst>
              <a:ext uri="{FF2B5EF4-FFF2-40B4-BE49-F238E27FC236}">
                <a16:creationId xmlns:a16="http://schemas.microsoft.com/office/drawing/2014/main" id="{EA75DCA7-E8A7-BC2A-7344-3120B7E51E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1384" y="6237312"/>
            <a:ext cx="1656184" cy="20383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8EE658BF-03B1-E261-B73C-E564203863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98788" y="2924944"/>
            <a:ext cx="3384373" cy="316835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456A4A3-91AE-6A6E-F941-03D49CF19C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58379" y="2348879"/>
            <a:ext cx="3384373" cy="432049"/>
          </a:xfrm>
        </p:spPr>
        <p:txBody>
          <a:bodyPr anchor="b" anchorCtr="0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2000" b="1">
                <a:solidFill>
                  <a:schemeClr val="bg1"/>
                </a:solidFill>
              </a:defRPr>
            </a:lvl4pPr>
            <a:lvl5pPr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Subheader</a:t>
            </a:r>
            <a:endParaRPr lang="da-DK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6185D0E-609B-01B6-6755-AC7EADCCCA6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89359" y="2348879"/>
            <a:ext cx="3393802" cy="432049"/>
          </a:xfrm>
        </p:spPr>
        <p:txBody>
          <a:bodyPr anchor="b" anchorCtr="0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2000" b="1">
                <a:solidFill>
                  <a:schemeClr val="bg1"/>
                </a:solidFill>
              </a:defRPr>
            </a:lvl4pPr>
            <a:lvl5pPr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Subhead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3929225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picture, headline and two columns - re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841200" cy="685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67808" y="180157"/>
            <a:ext cx="507907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67811" y="2924944"/>
            <a:ext cx="3384373" cy="316835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67810" y="981075"/>
            <a:ext cx="7312085" cy="1295798"/>
          </a:xfrm>
        </p:spPr>
        <p:txBody>
          <a:bodyPr anchor="b" anchorCtr="0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Bold headline</a:t>
            </a:r>
            <a:br>
              <a:rPr lang="en-US"/>
            </a:br>
            <a:r>
              <a:rPr lang="en-US"/>
              <a:t>with text and image</a:t>
            </a:r>
            <a:endParaRPr lang="en-GB"/>
          </a:p>
        </p:txBody>
      </p:sp>
      <p:sp>
        <p:nvSpPr>
          <p:cNvPr id="2" name="Pladsholder til tekst 4">
            <a:extLst>
              <a:ext uri="{FF2B5EF4-FFF2-40B4-BE49-F238E27FC236}">
                <a16:creationId xmlns:a16="http://schemas.microsoft.com/office/drawing/2014/main" id="{EA75DCA7-E8A7-BC2A-7344-3120B7E51E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1384" y="6237312"/>
            <a:ext cx="1656184" cy="20383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8EE658BF-03B1-E261-B73C-E564203863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98788" y="2924944"/>
            <a:ext cx="3384373" cy="316835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7AC4C3D5-3F3A-92AD-6A66-69A55CA68282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58379" y="2348879"/>
            <a:ext cx="3384373" cy="432049"/>
          </a:xfrm>
        </p:spPr>
        <p:txBody>
          <a:bodyPr anchor="b" anchorCtr="0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2000" b="1">
                <a:solidFill>
                  <a:schemeClr val="bg1"/>
                </a:solidFill>
              </a:defRPr>
            </a:lvl4pPr>
            <a:lvl5pPr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Subheader</a:t>
            </a:r>
            <a:endParaRPr lang="da-DK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DF00572A-F38B-9ED1-3773-F0CF22079FF1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89359" y="2348879"/>
            <a:ext cx="3393802" cy="432049"/>
          </a:xfrm>
        </p:spPr>
        <p:txBody>
          <a:bodyPr anchor="b" anchorCtr="0">
            <a:noAutofit/>
          </a:bodyPr>
          <a:lstStyle>
            <a:lvl1pPr>
              <a:defRPr sz="2000" b="1">
                <a:solidFill>
                  <a:schemeClr val="bg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2000" b="1">
                <a:solidFill>
                  <a:schemeClr val="bg1"/>
                </a:solidFill>
              </a:defRPr>
            </a:lvl4pPr>
            <a:lvl5pPr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Subhead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85723645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picture, headline and two columns -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841200" cy="685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67808" y="180157"/>
            <a:ext cx="5079072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67811" y="2924944"/>
            <a:ext cx="3384373" cy="3168352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67810" y="981075"/>
            <a:ext cx="7312085" cy="1295798"/>
          </a:xfr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Bold headline</a:t>
            </a:r>
            <a:br>
              <a:rPr lang="en-US"/>
            </a:br>
            <a:r>
              <a:rPr lang="en-US"/>
              <a:t>with text and image</a:t>
            </a:r>
            <a:endParaRPr lang="en-GB"/>
          </a:p>
        </p:txBody>
      </p:sp>
      <p:sp>
        <p:nvSpPr>
          <p:cNvPr id="2" name="Pladsholder til tekst 4">
            <a:extLst>
              <a:ext uri="{FF2B5EF4-FFF2-40B4-BE49-F238E27FC236}">
                <a16:creationId xmlns:a16="http://schemas.microsoft.com/office/drawing/2014/main" id="{EA75DCA7-E8A7-BC2A-7344-3120B7E51E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1384" y="6237312"/>
            <a:ext cx="1656184" cy="20383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8EE658BF-03B1-E261-B73C-E564203863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98788" y="2924944"/>
            <a:ext cx="3384373" cy="3168352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0714447F-7602-4AE2-D850-02789303B71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58379" y="2348879"/>
            <a:ext cx="3384373" cy="432049"/>
          </a:xfrm>
        </p:spPr>
        <p:txBody>
          <a:bodyPr anchor="b" anchorCtr="0">
            <a:no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2000" b="1">
                <a:solidFill>
                  <a:schemeClr val="bg1"/>
                </a:solidFill>
              </a:defRPr>
            </a:lvl4pPr>
            <a:lvl5pPr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Subheader</a:t>
            </a:r>
            <a:endParaRPr lang="da-DK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014AAFB8-1FC9-AC59-33A9-50A3F28F0736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89359" y="2348879"/>
            <a:ext cx="3393802" cy="432049"/>
          </a:xfrm>
        </p:spPr>
        <p:txBody>
          <a:bodyPr anchor="b" anchorCtr="0">
            <a:no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2000" b="1">
                <a:solidFill>
                  <a:schemeClr val="bg1"/>
                </a:solidFill>
              </a:defRPr>
            </a:lvl4pPr>
            <a:lvl5pPr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Subhead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6865900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picture, headline and two columns - light gree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3841200" cy="685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367808" y="180157"/>
            <a:ext cx="5079072" cy="365125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367811" y="2924944"/>
            <a:ext cx="3384373" cy="3168352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367810" y="981075"/>
            <a:ext cx="7312085" cy="1295798"/>
          </a:xfrm>
        </p:spPr>
        <p:txBody>
          <a:bodyPr anchor="b" anchorCtr="0"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/>
              <a:t>Bold headline</a:t>
            </a:r>
            <a:br>
              <a:rPr lang="en-US"/>
            </a:br>
            <a:r>
              <a:rPr lang="en-US"/>
              <a:t>with text and image</a:t>
            </a:r>
            <a:endParaRPr lang="en-GB"/>
          </a:p>
        </p:txBody>
      </p:sp>
      <p:sp>
        <p:nvSpPr>
          <p:cNvPr id="2" name="Pladsholder til tekst 4">
            <a:extLst>
              <a:ext uri="{FF2B5EF4-FFF2-40B4-BE49-F238E27FC236}">
                <a16:creationId xmlns:a16="http://schemas.microsoft.com/office/drawing/2014/main" id="{EA75DCA7-E8A7-BC2A-7344-3120B7E51E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1384" y="6237312"/>
            <a:ext cx="1656184" cy="20383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7" name="Text Placeholder 9">
            <a:extLst>
              <a:ext uri="{FF2B5EF4-FFF2-40B4-BE49-F238E27FC236}">
                <a16:creationId xmlns:a16="http://schemas.microsoft.com/office/drawing/2014/main" id="{8EE658BF-03B1-E261-B73C-E5642038635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298788" y="2924944"/>
            <a:ext cx="3384373" cy="3168352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C60A85BE-2234-4725-26C3-9CC233C7F4E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358379" y="2348879"/>
            <a:ext cx="3384373" cy="432049"/>
          </a:xfrm>
        </p:spPr>
        <p:txBody>
          <a:bodyPr anchor="b" anchorCtr="0">
            <a:no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2000" b="1">
                <a:solidFill>
                  <a:schemeClr val="bg1"/>
                </a:solidFill>
              </a:defRPr>
            </a:lvl4pPr>
            <a:lvl5pPr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Subheader</a:t>
            </a:r>
            <a:endParaRPr lang="da-DK"/>
          </a:p>
        </p:txBody>
      </p:sp>
      <p:sp>
        <p:nvSpPr>
          <p:cNvPr id="13" name="Text Placeholder 8">
            <a:extLst>
              <a:ext uri="{FF2B5EF4-FFF2-40B4-BE49-F238E27FC236}">
                <a16:creationId xmlns:a16="http://schemas.microsoft.com/office/drawing/2014/main" id="{4C6093E1-5752-6069-14D9-63C8CB8526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289359" y="2348879"/>
            <a:ext cx="3393802" cy="432049"/>
          </a:xfrm>
        </p:spPr>
        <p:txBody>
          <a:bodyPr anchor="b" anchorCtr="0">
            <a:noAutofit/>
          </a:bodyPr>
          <a:lstStyle>
            <a:lvl1pPr>
              <a:defRPr sz="2000" b="1">
                <a:solidFill>
                  <a:schemeClr val="accent1"/>
                </a:solidFill>
              </a:defRPr>
            </a:lvl1pPr>
            <a:lvl2pPr>
              <a:defRPr sz="2000" b="1">
                <a:solidFill>
                  <a:schemeClr val="bg1"/>
                </a:solidFill>
              </a:defRPr>
            </a:lvl2pPr>
            <a:lvl3pPr>
              <a:defRPr sz="2000" b="1">
                <a:solidFill>
                  <a:schemeClr val="bg1"/>
                </a:solidFill>
              </a:defRPr>
            </a:lvl3pPr>
            <a:lvl4pPr>
              <a:defRPr sz="2000" b="1">
                <a:solidFill>
                  <a:schemeClr val="bg1"/>
                </a:solidFill>
              </a:defRPr>
            </a:lvl4pPr>
            <a:lvl5pPr>
              <a:defRPr sz="20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 err="1"/>
              <a:t>Subheader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01564952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headline with text/background -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/>
            </a:lvl1pPr>
          </a:lstStyle>
          <a:p>
            <a:r>
              <a:rPr lang="en-GB"/>
              <a:t>This is a big</a:t>
            </a:r>
            <a:br>
              <a:rPr lang="en-GB"/>
            </a:br>
            <a:r>
              <a:rPr lang="en-GB"/>
              <a:t>bold statement </a:t>
            </a:r>
            <a:br>
              <a:rPr lang="en-GB"/>
            </a:br>
            <a:r>
              <a:rPr lang="en-GB"/>
              <a:t>with impact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DC0DC-FAEF-429E-B90E-2BFC3DF8DE4B}" type="datetime1">
              <a:rPr lang="en-GB" smtClean="0"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Billede 10">
            <a:extLst>
              <a:ext uri="{FF2B5EF4-FFF2-40B4-BE49-F238E27FC236}">
                <a16:creationId xmlns:a16="http://schemas.microsoft.com/office/drawing/2014/main" id="{8EF03521-54C8-4B82-8961-26B36D3A9C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170" y="6346800"/>
            <a:ext cx="1519660" cy="18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035252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page - Fixed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tekst 4">
            <a:extLst>
              <a:ext uri="{FF2B5EF4-FFF2-40B4-BE49-F238E27FC236}">
                <a16:creationId xmlns:a16="http://schemas.microsoft.com/office/drawing/2014/main" id="{BF254E75-BE3E-B382-371A-FA5D9BA273A5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224000" y="3198600"/>
            <a:ext cx="3744000" cy="4608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19730282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headline with text/background -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/>
            </a:lvl1pPr>
          </a:lstStyle>
          <a:p>
            <a:r>
              <a:rPr lang="en-GB"/>
              <a:t>This is a big</a:t>
            </a:r>
            <a:br>
              <a:rPr lang="en-GB"/>
            </a:br>
            <a:r>
              <a:rPr lang="en-GB"/>
              <a:t>bold statement </a:t>
            </a:r>
            <a:br>
              <a:rPr lang="en-GB"/>
            </a:br>
            <a:r>
              <a:rPr lang="en-GB"/>
              <a:t>with impact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DC0DC-FAEF-429E-B90E-2BFC3DF8DE4B}" type="datetime1">
              <a:rPr lang="en-GB" smtClean="0"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Billede 10">
            <a:extLst>
              <a:ext uri="{FF2B5EF4-FFF2-40B4-BE49-F238E27FC236}">
                <a16:creationId xmlns:a16="http://schemas.microsoft.com/office/drawing/2014/main" id="{8EF03521-54C8-4B82-8961-26B36D3A9C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170" y="6346800"/>
            <a:ext cx="1519660" cy="18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6593350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headline with text/background - dark blu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>
                <a:solidFill>
                  <a:schemeClr val="bg1"/>
                </a:solidFill>
              </a:defRPr>
            </a:lvl1pPr>
          </a:lstStyle>
          <a:p>
            <a:r>
              <a:rPr lang="da-DK" err="1"/>
              <a:t>Renewable</a:t>
            </a:r>
            <a:br>
              <a:rPr lang="da-DK"/>
            </a:br>
            <a:r>
              <a:rPr lang="da-DK"/>
              <a:t>is never</a:t>
            </a:r>
            <a:br>
              <a:rPr lang="da-DK"/>
            </a:br>
            <a:r>
              <a:rPr lang="da-DK"/>
              <a:t>alternativ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2DC0DC-FAEF-429E-B90E-2BFC3DF8DE4B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7" name="Picture 6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3F696EAD-5111-FD45-A7FE-5594649706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630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4278382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headline with text/background - green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>
                <a:solidFill>
                  <a:schemeClr val="bg1"/>
                </a:solidFill>
              </a:defRPr>
            </a:lvl1pPr>
          </a:lstStyle>
          <a:p>
            <a:r>
              <a:rPr lang="da-DK" err="1"/>
              <a:t>Renewable</a:t>
            </a:r>
            <a:br>
              <a:rPr lang="da-DK"/>
            </a:br>
            <a:r>
              <a:rPr lang="da-DK"/>
              <a:t>is never</a:t>
            </a:r>
            <a:br>
              <a:rPr lang="da-DK"/>
            </a:br>
            <a:r>
              <a:rPr lang="da-DK"/>
              <a:t>alternativ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2DC0DC-FAEF-429E-B90E-2BFC3DF8DE4B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E990BAA-F8AF-E344-AE26-52A3EA6530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630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413311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headline with text/background - re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>
                <a:solidFill>
                  <a:schemeClr val="bg1"/>
                </a:solidFill>
              </a:defRPr>
            </a:lvl1pPr>
          </a:lstStyle>
          <a:p>
            <a:r>
              <a:rPr lang="da-DK" err="1"/>
              <a:t>Renewable</a:t>
            </a:r>
            <a:br>
              <a:rPr lang="da-DK"/>
            </a:br>
            <a:r>
              <a:rPr lang="da-DK"/>
              <a:t>is never</a:t>
            </a:r>
            <a:br>
              <a:rPr lang="da-DK"/>
            </a:br>
            <a:r>
              <a:rPr lang="da-DK"/>
              <a:t>alternativ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2DC0DC-FAEF-429E-B90E-2BFC3DF8DE4B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E990BAA-F8AF-E344-AE26-52A3EA6530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630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75504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headline with text/background - dark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>
                <a:solidFill>
                  <a:schemeClr val="bg1"/>
                </a:solidFill>
              </a:defRPr>
            </a:lvl1pPr>
          </a:lstStyle>
          <a:p>
            <a:r>
              <a:rPr lang="da-DK" err="1"/>
              <a:t>Renewable</a:t>
            </a:r>
            <a:br>
              <a:rPr lang="da-DK"/>
            </a:br>
            <a:r>
              <a:rPr lang="da-DK"/>
              <a:t>is never</a:t>
            </a:r>
            <a:br>
              <a:rPr lang="da-DK"/>
            </a:br>
            <a:r>
              <a:rPr lang="da-DK"/>
              <a:t>alternativ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2DC0DC-FAEF-429E-B90E-2BFC3DF8DE4B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E990BAA-F8AF-E344-AE26-52A3EA6530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630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393447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headline with text/background - dark brown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>
                <a:solidFill>
                  <a:schemeClr val="bg1"/>
                </a:solidFill>
              </a:defRPr>
            </a:lvl1pPr>
          </a:lstStyle>
          <a:p>
            <a:r>
              <a:rPr lang="da-DK" err="1"/>
              <a:t>Renewable</a:t>
            </a:r>
            <a:br>
              <a:rPr lang="da-DK"/>
            </a:br>
            <a:r>
              <a:rPr lang="da-DK"/>
              <a:t>is never</a:t>
            </a:r>
            <a:br>
              <a:rPr lang="da-DK"/>
            </a:br>
            <a:r>
              <a:rPr lang="da-DK"/>
              <a:t>alternativ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2DC0DC-FAEF-429E-B90E-2BFC3DF8DE4B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8" name="Picture 7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5E990BAA-F8AF-E344-AE26-52A3EA65305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630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0558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headline with text/background - light brow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/>
            </a:lvl1pPr>
          </a:lstStyle>
          <a:p>
            <a:r>
              <a:rPr lang="en-GB"/>
              <a:t>This is a big</a:t>
            </a:r>
            <a:br>
              <a:rPr lang="en-GB"/>
            </a:br>
            <a:r>
              <a:rPr lang="en-GB"/>
              <a:t>bold statement </a:t>
            </a:r>
            <a:br>
              <a:rPr lang="en-GB"/>
            </a:br>
            <a:r>
              <a:rPr lang="en-GB"/>
              <a:t>with impact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DC0DC-FAEF-429E-B90E-2BFC3DF8DE4B}" type="datetime1">
              <a:rPr lang="en-GB" smtClean="0"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Billede 10">
            <a:extLst>
              <a:ext uri="{FF2B5EF4-FFF2-40B4-BE49-F238E27FC236}">
                <a16:creationId xmlns:a16="http://schemas.microsoft.com/office/drawing/2014/main" id="{8EF03521-54C8-4B82-8961-26B36D3A9C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170" y="6346800"/>
            <a:ext cx="1519660" cy="18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75366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old headline with text/background - light gree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B6F2DAE-FDF7-4472-9697-A63871917A3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/>
            </a:lvl1pPr>
          </a:lstStyle>
          <a:p>
            <a:r>
              <a:rPr lang="en-GB"/>
              <a:t>This is a big</a:t>
            </a:r>
            <a:br>
              <a:rPr lang="en-GB"/>
            </a:br>
            <a:r>
              <a:rPr lang="en-GB"/>
              <a:t>bold statement </a:t>
            </a:r>
            <a:br>
              <a:rPr lang="en-GB"/>
            </a:br>
            <a:r>
              <a:rPr lang="en-GB"/>
              <a:t>with impact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90BC3FE-F7D0-4D9F-A57C-5FEDEE7183A2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02DC0DC-FAEF-429E-B90E-2BFC3DF8DE4B}" type="datetime1">
              <a:rPr lang="en-GB" smtClean="0"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D71F41E-509C-43B6-A4DE-E4EEBAB7EDD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/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6090B4BB-0921-485C-A6F6-8C47E6D318E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t>‹#›</a:t>
            </a:fld>
            <a:endParaRPr lang="en-GB"/>
          </a:p>
        </p:txBody>
      </p:sp>
      <p:pic>
        <p:nvPicPr>
          <p:cNvPr id="9" name="Billede 10">
            <a:extLst>
              <a:ext uri="{FF2B5EF4-FFF2-40B4-BE49-F238E27FC236}">
                <a16:creationId xmlns:a16="http://schemas.microsoft.com/office/drawing/2014/main" id="{8EF03521-54C8-4B82-8961-26B36D3A9CA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336170" y="6346800"/>
            <a:ext cx="1519660" cy="1876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0690959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with text/background image - helix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916FDB6-985A-4325-8F16-CB4887DD7C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7883C350-06AD-1257-C668-CE1DBAD597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>
                <a:solidFill>
                  <a:schemeClr val="bg1"/>
                </a:solidFill>
              </a:defRPr>
            </a:lvl1pPr>
          </a:lstStyle>
          <a:p>
            <a:r>
              <a:rPr lang="da-DK" err="1"/>
              <a:t>Renewable</a:t>
            </a:r>
            <a:br>
              <a:rPr lang="da-DK"/>
            </a:br>
            <a:r>
              <a:rPr lang="da-DK"/>
              <a:t>is never</a:t>
            </a:r>
            <a:br>
              <a:rPr lang="da-DK"/>
            </a:br>
            <a:r>
              <a:rPr lang="da-DK"/>
              <a:t>alternative</a:t>
            </a:r>
            <a:endParaRPr lang="en-GB"/>
          </a:p>
        </p:txBody>
      </p:sp>
      <p:sp>
        <p:nvSpPr>
          <p:cNvPr id="11" name="Pladsholder til dato 3">
            <a:extLst>
              <a:ext uri="{FF2B5EF4-FFF2-40B4-BE49-F238E27FC236}">
                <a16:creationId xmlns:a16="http://schemas.microsoft.com/office/drawing/2014/main" id="{FF2B2468-4B38-E4A0-3660-614770FCFD5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29967" y="6308927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2DC0DC-FAEF-429E-B90E-2BFC3DF8DE4B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12" name="Pladsholder til sidefod 4">
            <a:extLst>
              <a:ext uri="{FF2B5EF4-FFF2-40B4-BE49-F238E27FC236}">
                <a16:creationId xmlns:a16="http://schemas.microsoft.com/office/drawing/2014/main" id="{9393C6BE-26A3-5AAF-B9FF-6F1A229FA6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13" name="Pladsholder til slidenummer 5">
            <a:extLst>
              <a:ext uri="{FF2B5EF4-FFF2-40B4-BE49-F238E27FC236}">
                <a16:creationId xmlns:a16="http://schemas.microsoft.com/office/drawing/2014/main" id="{E4999B8A-FA84-F9EB-BBBB-31E30635C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6560" y="6308928"/>
            <a:ext cx="54333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Pladsholder til tekst 4">
            <a:extLst>
              <a:ext uri="{FF2B5EF4-FFF2-40B4-BE49-F238E27FC236}">
                <a16:creationId xmlns:a16="http://schemas.microsoft.com/office/drawing/2014/main" id="{42FE226B-A23A-D8A5-78B0-863A64BBF6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36630" y="6338366"/>
            <a:ext cx="1519200" cy="18697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33084900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old headline with text/background image - dark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916FDB6-985A-4325-8F16-CB4887DD7C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10" name="Titel 1">
            <a:extLst>
              <a:ext uri="{FF2B5EF4-FFF2-40B4-BE49-F238E27FC236}">
                <a16:creationId xmlns:a16="http://schemas.microsoft.com/office/drawing/2014/main" id="{7883C350-06AD-1257-C668-CE1DBAD5977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1268760"/>
            <a:ext cx="11165997" cy="4608165"/>
          </a:xfrm>
        </p:spPr>
        <p:txBody>
          <a:bodyPr anchor="t"/>
          <a:lstStyle>
            <a:lvl1pPr algn="ctr">
              <a:defRPr sz="10000">
                <a:solidFill>
                  <a:schemeClr val="bg1"/>
                </a:solidFill>
              </a:defRPr>
            </a:lvl1pPr>
          </a:lstStyle>
          <a:p>
            <a:r>
              <a:rPr lang="da-DK" err="1"/>
              <a:t>Renewable</a:t>
            </a:r>
            <a:br>
              <a:rPr lang="da-DK"/>
            </a:br>
            <a:r>
              <a:rPr lang="da-DK"/>
              <a:t>is never</a:t>
            </a:r>
            <a:br>
              <a:rPr lang="da-DK"/>
            </a:br>
            <a:r>
              <a:rPr lang="da-DK"/>
              <a:t>alternative</a:t>
            </a:r>
            <a:endParaRPr lang="en-GB"/>
          </a:p>
        </p:txBody>
      </p:sp>
      <p:sp>
        <p:nvSpPr>
          <p:cNvPr id="11" name="Pladsholder til dato 3">
            <a:extLst>
              <a:ext uri="{FF2B5EF4-FFF2-40B4-BE49-F238E27FC236}">
                <a16:creationId xmlns:a16="http://schemas.microsoft.com/office/drawing/2014/main" id="{FF2B2468-4B38-E4A0-3660-614770FCFD5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29967" y="6308927"/>
            <a:ext cx="2743200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902DC0DC-FAEF-429E-B90E-2BFC3DF8DE4B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12" name="Pladsholder til sidefod 4">
            <a:extLst>
              <a:ext uri="{FF2B5EF4-FFF2-40B4-BE49-F238E27FC236}">
                <a16:creationId xmlns:a16="http://schemas.microsoft.com/office/drawing/2014/main" id="{9393C6BE-26A3-5AAF-B9FF-6F1A229FA6E4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3053277" y="183948"/>
            <a:ext cx="6085445" cy="365125"/>
          </a:xfrm>
        </p:spPr>
        <p:txBody>
          <a:bodyPr/>
          <a:lstStyle>
            <a:lvl1pPr algn="ctr"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13" name="Pladsholder til slidenummer 5">
            <a:extLst>
              <a:ext uri="{FF2B5EF4-FFF2-40B4-BE49-F238E27FC236}">
                <a16:creationId xmlns:a16="http://schemas.microsoft.com/office/drawing/2014/main" id="{E4999B8A-FA84-F9EB-BBBB-31E30635C4B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136560" y="6308928"/>
            <a:ext cx="543336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5" name="Pladsholder til tekst 4">
            <a:extLst>
              <a:ext uri="{FF2B5EF4-FFF2-40B4-BE49-F238E27FC236}">
                <a16:creationId xmlns:a16="http://schemas.microsoft.com/office/drawing/2014/main" id="{42FE226B-A23A-D8A5-78B0-863A64BBF6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336630" y="6338366"/>
            <a:ext cx="1519200" cy="18697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215690043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page - changeable image, l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3FFAD509-3C5A-4F65-A8F5-EFA49E7D1140}"/>
              </a:ext>
            </a:extLst>
          </p:cNvPr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12192000" cy="6858000"/>
          </a:xfrm>
          <a:prstGeom prst="rect">
            <a:avLst/>
          </a:prstGeo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 algn="ctr">
              <a:defRPr sz="2000">
                <a:solidFill>
                  <a:schemeClr val="bg1">
                    <a:lumMod val="95000"/>
                  </a:schemeClr>
                </a:solidFill>
              </a:defRPr>
            </a:lvl1pPr>
          </a:lstStyle>
          <a:p>
            <a:r>
              <a:rPr lang="en-GB"/>
              <a:t>Drag and drop a picture, to this placeholder</a:t>
            </a:r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4DC8FFF-668D-4348-BAB4-FEAF261F83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24000" y="3198600"/>
            <a:ext cx="3744000" cy="460800"/>
          </a:xfrm>
          <a:prstGeom prst="rect">
            <a:avLst/>
          </a:prstGeom>
          <a:blipFill>
            <a:blip r:embed="rId3"/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err="1"/>
              <a:t>Klik</a:t>
            </a:r>
            <a:r>
              <a:rPr lang="en-GB"/>
              <a:t> for at </a:t>
            </a:r>
            <a:r>
              <a:rPr lang="en-GB" err="1"/>
              <a:t>redigere</a:t>
            </a:r>
            <a:r>
              <a:rPr lang="en-GB"/>
              <a:t> </a:t>
            </a:r>
            <a:r>
              <a:rPr lang="en-GB" err="1"/>
              <a:t>teksttypografierne</a:t>
            </a:r>
            <a:r>
              <a:rPr lang="en-GB"/>
              <a:t> </a:t>
            </a:r>
            <a:r>
              <a:rPr lang="en-GB" err="1"/>
              <a:t>i</a:t>
            </a:r>
            <a:r>
              <a:rPr lang="en-GB"/>
              <a:t> </a:t>
            </a:r>
            <a:r>
              <a:rPr lang="en-GB" err="1"/>
              <a:t>master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9271196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employee list - dark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9" y="4005063"/>
            <a:ext cx="1234218" cy="1871861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176213" indent="-107950">
              <a:defRPr>
                <a:solidFill>
                  <a:schemeClr val="bg1"/>
                </a:solidFill>
              </a:defRPr>
            </a:lvl3pPr>
            <a:lvl4pPr marL="265113" indent="-107950">
              <a:defRPr>
                <a:solidFill>
                  <a:schemeClr val="bg1"/>
                </a:solidFill>
              </a:defRPr>
            </a:lvl4pPr>
            <a:lvl5pPr marL="452438" indent="-10795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4EE9807B-D5F3-D8B9-EDD5-A3E522C133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5756B391-C2BA-AF42-40D7-4E2B6783C300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921250" y="4005063"/>
            <a:ext cx="1234218" cy="1871861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176213" indent="-107950">
              <a:defRPr>
                <a:solidFill>
                  <a:schemeClr val="bg1"/>
                </a:solidFill>
              </a:defRPr>
            </a:lvl3pPr>
            <a:lvl4pPr marL="265113" indent="-107950">
              <a:defRPr>
                <a:solidFill>
                  <a:schemeClr val="bg1"/>
                </a:solidFill>
              </a:defRPr>
            </a:lvl4pPr>
            <a:lvl5pPr marL="452438" indent="-10795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Content Placeholder 8">
            <a:extLst>
              <a:ext uri="{FF2B5EF4-FFF2-40B4-BE49-F238E27FC236}">
                <a16:creationId xmlns:a16="http://schemas.microsoft.com/office/drawing/2014/main" id="{CDEAE2F2-B7BB-F0FA-15B1-E5C0A637946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24847" y="4005063"/>
            <a:ext cx="1234218" cy="1871861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176213" indent="-107950">
              <a:defRPr>
                <a:solidFill>
                  <a:schemeClr val="bg1"/>
                </a:solidFill>
              </a:defRPr>
            </a:lvl3pPr>
            <a:lvl4pPr marL="265113" indent="-107950">
              <a:defRPr>
                <a:solidFill>
                  <a:schemeClr val="bg1"/>
                </a:solidFill>
              </a:defRPr>
            </a:lvl4pPr>
            <a:lvl5pPr marL="452438" indent="-10795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32C1904F-E08F-3145-9B2C-0592514560D5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728444" y="4005063"/>
            <a:ext cx="1234218" cy="1871861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176213" indent="-107950">
              <a:defRPr>
                <a:solidFill>
                  <a:schemeClr val="bg1"/>
                </a:solidFill>
              </a:defRPr>
            </a:lvl3pPr>
            <a:lvl4pPr marL="265113" indent="-107950">
              <a:defRPr>
                <a:solidFill>
                  <a:schemeClr val="bg1"/>
                </a:solidFill>
              </a:defRPr>
            </a:lvl4pPr>
            <a:lvl5pPr marL="452438" indent="-10795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Content Placeholder 8">
            <a:extLst>
              <a:ext uri="{FF2B5EF4-FFF2-40B4-BE49-F238E27FC236}">
                <a16:creationId xmlns:a16="http://schemas.microsoft.com/office/drawing/2014/main" id="{41AD23D2-3BF3-F0DC-855E-1F6EF5B3100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130327" y="4005063"/>
            <a:ext cx="1234218" cy="1871861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176213" indent="-107950">
              <a:defRPr>
                <a:solidFill>
                  <a:schemeClr val="bg1"/>
                </a:solidFill>
              </a:defRPr>
            </a:lvl3pPr>
            <a:lvl4pPr marL="265113" indent="-107950">
              <a:defRPr>
                <a:solidFill>
                  <a:schemeClr val="bg1"/>
                </a:solidFill>
              </a:defRPr>
            </a:lvl4pPr>
            <a:lvl5pPr marL="452438" indent="-10795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Content Placeholder 8">
            <a:extLst>
              <a:ext uri="{FF2B5EF4-FFF2-40B4-BE49-F238E27FC236}">
                <a16:creationId xmlns:a16="http://schemas.microsoft.com/office/drawing/2014/main" id="{609978EB-A66F-1661-8190-C7ED2B655528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7533976" y="4005063"/>
            <a:ext cx="1234218" cy="1871861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176213" indent="-107950">
              <a:defRPr>
                <a:solidFill>
                  <a:schemeClr val="bg1"/>
                </a:solidFill>
              </a:defRPr>
            </a:lvl3pPr>
            <a:lvl4pPr marL="265113" indent="-107950">
              <a:defRPr>
                <a:solidFill>
                  <a:schemeClr val="bg1"/>
                </a:solidFill>
              </a:defRPr>
            </a:lvl4pPr>
            <a:lvl5pPr marL="452438" indent="-10795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41A11E4A-2A59-03BE-6C69-82F41A8B3782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8935911" y="4005063"/>
            <a:ext cx="1234218" cy="1871861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176213" indent="-107950">
              <a:defRPr>
                <a:solidFill>
                  <a:schemeClr val="bg1"/>
                </a:solidFill>
              </a:defRPr>
            </a:lvl3pPr>
            <a:lvl4pPr marL="265113" indent="-107950">
              <a:defRPr>
                <a:solidFill>
                  <a:schemeClr val="bg1"/>
                </a:solidFill>
              </a:defRPr>
            </a:lvl4pPr>
            <a:lvl5pPr marL="452438" indent="-10795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Content Placeholder 8">
            <a:extLst>
              <a:ext uri="{FF2B5EF4-FFF2-40B4-BE49-F238E27FC236}">
                <a16:creationId xmlns:a16="http://schemas.microsoft.com/office/drawing/2014/main" id="{5749D422-EE58-CA35-B647-A0B7650A7CE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10336132" y="4005063"/>
            <a:ext cx="1234218" cy="1871861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176213" indent="-107950">
              <a:defRPr>
                <a:solidFill>
                  <a:schemeClr val="bg1"/>
                </a:solidFill>
              </a:defRPr>
            </a:lvl3pPr>
            <a:lvl4pPr marL="265113" indent="-107950">
              <a:defRPr>
                <a:solidFill>
                  <a:schemeClr val="bg1"/>
                </a:solidFill>
              </a:defRPr>
            </a:lvl4pPr>
            <a:lvl5pPr marL="452438" indent="-10795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8B9C63F9-F87B-CC17-0670-D6DF550DADBF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515082" y="2361517"/>
            <a:ext cx="1235075" cy="1234800"/>
          </a:xfrm>
          <a:prstGeom prst="ellipse">
            <a:avLst/>
          </a:prstGeom>
          <a:blipFill dpi="0" rotWithShape="0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1" r="11"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36" name="Picture Placeholder 34">
            <a:extLst>
              <a:ext uri="{FF2B5EF4-FFF2-40B4-BE49-F238E27FC236}">
                <a16:creationId xmlns:a16="http://schemas.microsoft.com/office/drawing/2014/main" id="{C8B1D3DD-D425-1F8B-3934-FEB4BC8031F8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919676" y="2361517"/>
            <a:ext cx="1235075" cy="1234800"/>
          </a:xfrm>
          <a:prstGeom prst="ellipse">
            <a:avLst/>
          </a:prstGeom>
          <a:blipFill dpi="0" rotWithShape="0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1" r="11"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37" name="Picture Placeholder 34">
            <a:extLst>
              <a:ext uri="{FF2B5EF4-FFF2-40B4-BE49-F238E27FC236}">
                <a16:creationId xmlns:a16="http://schemas.microsoft.com/office/drawing/2014/main" id="{159A1D7A-9FC2-9D2D-E510-68EA08619B49}"/>
              </a:ext>
            </a:extLst>
          </p:cNvPr>
          <p:cNvSpPr>
            <a:spLocks noGrp="1" noChangeAspect="1"/>
          </p:cNvSpPr>
          <p:nvPr>
            <p:ph type="pic" sz="quarter" idx="34"/>
          </p:nvPr>
        </p:nvSpPr>
        <p:spPr>
          <a:xfrm>
            <a:off x="3324269" y="2361517"/>
            <a:ext cx="1235075" cy="1234800"/>
          </a:xfrm>
          <a:prstGeom prst="ellipse">
            <a:avLst/>
          </a:prstGeom>
          <a:blipFill dpi="0" rotWithShape="0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1" r="11"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38" name="Picture Placeholder 34">
            <a:extLst>
              <a:ext uri="{FF2B5EF4-FFF2-40B4-BE49-F238E27FC236}">
                <a16:creationId xmlns:a16="http://schemas.microsoft.com/office/drawing/2014/main" id="{F93A79D0-8534-FDD4-2354-DC8FC9021EED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728863" y="2361517"/>
            <a:ext cx="1235075" cy="1234800"/>
          </a:xfrm>
          <a:prstGeom prst="ellipse">
            <a:avLst/>
          </a:prstGeom>
          <a:blipFill dpi="0" rotWithShape="0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1" r="11"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39" name="Picture Placeholder 34">
            <a:extLst>
              <a:ext uri="{FF2B5EF4-FFF2-40B4-BE49-F238E27FC236}">
                <a16:creationId xmlns:a16="http://schemas.microsoft.com/office/drawing/2014/main" id="{183693F1-1E78-D887-BC5A-00A887A044F2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6130327" y="2361517"/>
            <a:ext cx="1235075" cy="1234800"/>
          </a:xfrm>
          <a:prstGeom prst="ellipse">
            <a:avLst/>
          </a:prstGeom>
          <a:blipFill dpi="0" rotWithShape="0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1" r="11"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41" name="Picture Placeholder 34">
            <a:extLst>
              <a:ext uri="{FF2B5EF4-FFF2-40B4-BE49-F238E27FC236}">
                <a16:creationId xmlns:a16="http://schemas.microsoft.com/office/drawing/2014/main" id="{2E1BF4C2-08E3-EC8C-236B-E540435D975C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7534921" y="2361517"/>
            <a:ext cx="1235075" cy="1234800"/>
          </a:xfrm>
          <a:prstGeom prst="ellipse">
            <a:avLst/>
          </a:prstGeom>
          <a:blipFill dpi="0" rotWithShape="0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1" r="11"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42" name="Picture Placeholder 34">
            <a:extLst>
              <a:ext uri="{FF2B5EF4-FFF2-40B4-BE49-F238E27FC236}">
                <a16:creationId xmlns:a16="http://schemas.microsoft.com/office/drawing/2014/main" id="{589FFA45-9228-F6CF-8D6B-A136F554704A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8939515" y="2361517"/>
            <a:ext cx="1235075" cy="1234800"/>
          </a:xfrm>
          <a:prstGeom prst="ellipse">
            <a:avLst/>
          </a:prstGeom>
          <a:blipFill dpi="0" rotWithShape="0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1" r="11"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43" name="Picture Placeholder 34">
            <a:extLst>
              <a:ext uri="{FF2B5EF4-FFF2-40B4-BE49-F238E27FC236}">
                <a16:creationId xmlns:a16="http://schemas.microsoft.com/office/drawing/2014/main" id="{CC1D11E3-E3A9-9EBA-EA52-5353F8B62533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10344109" y="2361517"/>
            <a:ext cx="1235075" cy="1234800"/>
          </a:xfrm>
          <a:prstGeom prst="ellipse">
            <a:avLst/>
          </a:prstGeom>
          <a:blipFill dpi="0" rotWithShape="0"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1" r="11"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8" name="Text Placeholder 6">
            <a:extLst>
              <a:ext uri="{FF2B5EF4-FFF2-40B4-BE49-F238E27FC236}">
                <a16:creationId xmlns:a16="http://schemas.microsoft.com/office/drawing/2014/main" id="{458983A1-20FA-3512-6EB0-1070A10838FA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14350" y="981075"/>
            <a:ext cx="11064875" cy="935038"/>
          </a:xfrm>
        </p:spPr>
        <p:txBody>
          <a:bodyPr>
            <a:noAutofit/>
          </a:bodyPr>
          <a:lstStyle>
            <a:lvl1pPr>
              <a:defRPr sz="4800" b="1">
                <a:solidFill>
                  <a:schemeClr val="bg1"/>
                </a:solidFill>
              </a:defRPr>
            </a:lvl1pPr>
            <a:lvl2pPr>
              <a:defRPr sz="4800" b="1">
                <a:solidFill>
                  <a:schemeClr val="bg1"/>
                </a:solidFill>
              </a:defRPr>
            </a:lvl2pPr>
            <a:lvl3pPr>
              <a:defRPr sz="4800" b="1">
                <a:solidFill>
                  <a:schemeClr val="bg1"/>
                </a:solidFill>
              </a:defRPr>
            </a:lvl3pPr>
            <a:lvl4pPr>
              <a:defRPr sz="4800" b="1">
                <a:solidFill>
                  <a:schemeClr val="bg1"/>
                </a:solidFill>
              </a:defRPr>
            </a:lvl4pPr>
            <a:lvl5pPr>
              <a:defRPr sz="4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Headline and employee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9964923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adline and employee list -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9" y="4005063"/>
            <a:ext cx="1234218" cy="187186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Content Placeholder 8">
            <a:extLst>
              <a:ext uri="{FF2B5EF4-FFF2-40B4-BE49-F238E27FC236}">
                <a16:creationId xmlns:a16="http://schemas.microsoft.com/office/drawing/2014/main" id="{5756B391-C2BA-AF42-40D7-4E2B6783C300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921250" y="4005063"/>
            <a:ext cx="1234218" cy="187186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0" name="Content Placeholder 8">
            <a:extLst>
              <a:ext uri="{FF2B5EF4-FFF2-40B4-BE49-F238E27FC236}">
                <a16:creationId xmlns:a16="http://schemas.microsoft.com/office/drawing/2014/main" id="{CDEAE2F2-B7BB-F0FA-15B1-E5C0A6379469}"/>
              </a:ext>
            </a:extLst>
          </p:cNvPr>
          <p:cNvSpPr>
            <a:spLocks noGrp="1"/>
          </p:cNvSpPr>
          <p:nvPr>
            <p:ph sz="quarter" idx="20" hasCustomPrompt="1"/>
          </p:nvPr>
        </p:nvSpPr>
        <p:spPr>
          <a:xfrm>
            <a:off x="3324847" y="4005063"/>
            <a:ext cx="1234218" cy="187186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2" name="Content Placeholder 8">
            <a:extLst>
              <a:ext uri="{FF2B5EF4-FFF2-40B4-BE49-F238E27FC236}">
                <a16:creationId xmlns:a16="http://schemas.microsoft.com/office/drawing/2014/main" id="{32C1904F-E08F-3145-9B2C-0592514560D5}"/>
              </a:ext>
            </a:extLst>
          </p:cNvPr>
          <p:cNvSpPr>
            <a:spLocks noGrp="1"/>
          </p:cNvSpPr>
          <p:nvPr>
            <p:ph sz="quarter" idx="22" hasCustomPrompt="1"/>
          </p:nvPr>
        </p:nvSpPr>
        <p:spPr>
          <a:xfrm>
            <a:off x="4728444" y="4005063"/>
            <a:ext cx="1234218" cy="187186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4" name="Content Placeholder 8">
            <a:extLst>
              <a:ext uri="{FF2B5EF4-FFF2-40B4-BE49-F238E27FC236}">
                <a16:creationId xmlns:a16="http://schemas.microsoft.com/office/drawing/2014/main" id="{41AD23D2-3BF3-F0DC-855E-1F6EF5B31004}"/>
              </a:ext>
            </a:extLst>
          </p:cNvPr>
          <p:cNvSpPr>
            <a:spLocks noGrp="1"/>
          </p:cNvSpPr>
          <p:nvPr>
            <p:ph sz="quarter" idx="24" hasCustomPrompt="1"/>
          </p:nvPr>
        </p:nvSpPr>
        <p:spPr>
          <a:xfrm>
            <a:off x="6130327" y="4005063"/>
            <a:ext cx="1234218" cy="187186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6" name="Content Placeholder 8">
            <a:extLst>
              <a:ext uri="{FF2B5EF4-FFF2-40B4-BE49-F238E27FC236}">
                <a16:creationId xmlns:a16="http://schemas.microsoft.com/office/drawing/2014/main" id="{609978EB-A66F-1661-8190-C7ED2B655528}"/>
              </a:ext>
            </a:extLst>
          </p:cNvPr>
          <p:cNvSpPr>
            <a:spLocks noGrp="1"/>
          </p:cNvSpPr>
          <p:nvPr>
            <p:ph sz="quarter" idx="26" hasCustomPrompt="1"/>
          </p:nvPr>
        </p:nvSpPr>
        <p:spPr>
          <a:xfrm>
            <a:off x="7533976" y="4005063"/>
            <a:ext cx="1234218" cy="187186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9" name="Content Placeholder 8">
            <a:extLst>
              <a:ext uri="{FF2B5EF4-FFF2-40B4-BE49-F238E27FC236}">
                <a16:creationId xmlns:a16="http://schemas.microsoft.com/office/drawing/2014/main" id="{41A11E4A-2A59-03BE-6C69-82F41A8B3782}"/>
              </a:ext>
            </a:extLst>
          </p:cNvPr>
          <p:cNvSpPr>
            <a:spLocks noGrp="1"/>
          </p:cNvSpPr>
          <p:nvPr>
            <p:ph sz="quarter" idx="28" hasCustomPrompt="1"/>
          </p:nvPr>
        </p:nvSpPr>
        <p:spPr>
          <a:xfrm>
            <a:off x="8935911" y="4005063"/>
            <a:ext cx="1234218" cy="187186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1" name="Content Placeholder 8">
            <a:extLst>
              <a:ext uri="{FF2B5EF4-FFF2-40B4-BE49-F238E27FC236}">
                <a16:creationId xmlns:a16="http://schemas.microsoft.com/office/drawing/2014/main" id="{5749D422-EE58-CA35-B647-A0B7650A7CE9}"/>
              </a:ext>
            </a:extLst>
          </p:cNvPr>
          <p:cNvSpPr>
            <a:spLocks noGrp="1"/>
          </p:cNvSpPr>
          <p:nvPr>
            <p:ph sz="quarter" idx="30" hasCustomPrompt="1"/>
          </p:nvPr>
        </p:nvSpPr>
        <p:spPr>
          <a:xfrm>
            <a:off x="10336132" y="4005063"/>
            <a:ext cx="1234218" cy="1871861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5" name="Picture Placeholder 34">
            <a:extLst>
              <a:ext uri="{FF2B5EF4-FFF2-40B4-BE49-F238E27FC236}">
                <a16:creationId xmlns:a16="http://schemas.microsoft.com/office/drawing/2014/main" id="{8B9C63F9-F87B-CC17-0670-D6DF550DADBF}"/>
              </a:ext>
            </a:extLst>
          </p:cNvPr>
          <p:cNvSpPr>
            <a:spLocks noGrp="1" noChangeAspect="1"/>
          </p:cNvSpPr>
          <p:nvPr>
            <p:ph type="pic" sz="quarter" idx="32"/>
          </p:nvPr>
        </p:nvSpPr>
        <p:spPr>
          <a:xfrm>
            <a:off x="515082" y="2361517"/>
            <a:ext cx="1235075" cy="1234800"/>
          </a:xfrm>
          <a:prstGeom prst="ellipse">
            <a:avLst/>
          </a:prstGeom>
          <a:blipFill dpi="0" rotWithShape="0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1" r="11"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36" name="Picture Placeholder 34">
            <a:extLst>
              <a:ext uri="{FF2B5EF4-FFF2-40B4-BE49-F238E27FC236}">
                <a16:creationId xmlns:a16="http://schemas.microsoft.com/office/drawing/2014/main" id="{C8B1D3DD-D425-1F8B-3934-FEB4BC8031F8}"/>
              </a:ext>
            </a:extLst>
          </p:cNvPr>
          <p:cNvSpPr>
            <a:spLocks noGrp="1" noChangeAspect="1"/>
          </p:cNvSpPr>
          <p:nvPr>
            <p:ph type="pic" sz="quarter" idx="33"/>
          </p:nvPr>
        </p:nvSpPr>
        <p:spPr>
          <a:xfrm>
            <a:off x="1919676" y="2361517"/>
            <a:ext cx="1235075" cy="1234800"/>
          </a:xfrm>
          <a:prstGeom prst="ellipse">
            <a:avLst/>
          </a:prstGeom>
          <a:blipFill dpi="0" rotWithShape="0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1" r="11"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37" name="Picture Placeholder 34">
            <a:extLst>
              <a:ext uri="{FF2B5EF4-FFF2-40B4-BE49-F238E27FC236}">
                <a16:creationId xmlns:a16="http://schemas.microsoft.com/office/drawing/2014/main" id="{159A1D7A-9FC2-9D2D-E510-68EA08619B49}"/>
              </a:ext>
            </a:extLst>
          </p:cNvPr>
          <p:cNvSpPr>
            <a:spLocks noGrp="1" noChangeAspect="1"/>
          </p:cNvSpPr>
          <p:nvPr>
            <p:ph type="pic" sz="quarter" idx="34"/>
          </p:nvPr>
        </p:nvSpPr>
        <p:spPr>
          <a:xfrm>
            <a:off x="3324269" y="2361517"/>
            <a:ext cx="1235075" cy="1234800"/>
          </a:xfrm>
          <a:prstGeom prst="ellipse">
            <a:avLst/>
          </a:prstGeom>
          <a:blipFill dpi="0" rotWithShape="0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1" r="11"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38" name="Picture Placeholder 34">
            <a:extLst>
              <a:ext uri="{FF2B5EF4-FFF2-40B4-BE49-F238E27FC236}">
                <a16:creationId xmlns:a16="http://schemas.microsoft.com/office/drawing/2014/main" id="{F93A79D0-8534-FDD4-2354-DC8FC9021EED}"/>
              </a:ext>
            </a:extLst>
          </p:cNvPr>
          <p:cNvSpPr>
            <a:spLocks noGrp="1" noChangeAspect="1"/>
          </p:cNvSpPr>
          <p:nvPr>
            <p:ph type="pic" sz="quarter" idx="35"/>
          </p:nvPr>
        </p:nvSpPr>
        <p:spPr>
          <a:xfrm>
            <a:off x="4728863" y="2361517"/>
            <a:ext cx="1235075" cy="1234800"/>
          </a:xfrm>
          <a:prstGeom prst="ellipse">
            <a:avLst/>
          </a:prstGeom>
          <a:blipFill dpi="0" rotWithShape="0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1" r="11"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39" name="Picture Placeholder 34">
            <a:extLst>
              <a:ext uri="{FF2B5EF4-FFF2-40B4-BE49-F238E27FC236}">
                <a16:creationId xmlns:a16="http://schemas.microsoft.com/office/drawing/2014/main" id="{183693F1-1E78-D887-BC5A-00A887A044F2}"/>
              </a:ext>
            </a:extLst>
          </p:cNvPr>
          <p:cNvSpPr>
            <a:spLocks noGrp="1" noChangeAspect="1"/>
          </p:cNvSpPr>
          <p:nvPr>
            <p:ph type="pic" sz="quarter" idx="36"/>
          </p:nvPr>
        </p:nvSpPr>
        <p:spPr>
          <a:xfrm>
            <a:off x="6130327" y="2361517"/>
            <a:ext cx="1235075" cy="1234800"/>
          </a:xfrm>
          <a:prstGeom prst="ellipse">
            <a:avLst/>
          </a:prstGeom>
          <a:blipFill dpi="0" rotWithShape="0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1" r="11"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41" name="Picture Placeholder 34">
            <a:extLst>
              <a:ext uri="{FF2B5EF4-FFF2-40B4-BE49-F238E27FC236}">
                <a16:creationId xmlns:a16="http://schemas.microsoft.com/office/drawing/2014/main" id="{2E1BF4C2-08E3-EC8C-236B-E540435D975C}"/>
              </a:ext>
            </a:extLst>
          </p:cNvPr>
          <p:cNvSpPr>
            <a:spLocks noGrp="1" noChangeAspect="1"/>
          </p:cNvSpPr>
          <p:nvPr>
            <p:ph type="pic" sz="quarter" idx="37"/>
          </p:nvPr>
        </p:nvSpPr>
        <p:spPr>
          <a:xfrm>
            <a:off x="7534921" y="2361517"/>
            <a:ext cx="1235075" cy="1234800"/>
          </a:xfrm>
          <a:prstGeom prst="ellipse">
            <a:avLst/>
          </a:prstGeom>
          <a:blipFill dpi="0" rotWithShape="0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1" r="11"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42" name="Picture Placeholder 34">
            <a:extLst>
              <a:ext uri="{FF2B5EF4-FFF2-40B4-BE49-F238E27FC236}">
                <a16:creationId xmlns:a16="http://schemas.microsoft.com/office/drawing/2014/main" id="{589FFA45-9228-F6CF-8D6B-A136F554704A}"/>
              </a:ext>
            </a:extLst>
          </p:cNvPr>
          <p:cNvSpPr>
            <a:spLocks noGrp="1" noChangeAspect="1"/>
          </p:cNvSpPr>
          <p:nvPr>
            <p:ph type="pic" sz="quarter" idx="38"/>
          </p:nvPr>
        </p:nvSpPr>
        <p:spPr>
          <a:xfrm>
            <a:off x="8939515" y="2361517"/>
            <a:ext cx="1235075" cy="1234800"/>
          </a:xfrm>
          <a:prstGeom prst="ellipse">
            <a:avLst/>
          </a:prstGeom>
          <a:blipFill dpi="0" rotWithShape="0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1" r="11"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43" name="Picture Placeholder 34">
            <a:extLst>
              <a:ext uri="{FF2B5EF4-FFF2-40B4-BE49-F238E27FC236}">
                <a16:creationId xmlns:a16="http://schemas.microsoft.com/office/drawing/2014/main" id="{CC1D11E3-E3A9-9EBA-EA52-5353F8B62533}"/>
              </a:ext>
            </a:extLst>
          </p:cNvPr>
          <p:cNvSpPr>
            <a:spLocks noGrp="1" noChangeAspect="1"/>
          </p:cNvSpPr>
          <p:nvPr>
            <p:ph type="pic" sz="quarter" idx="39"/>
          </p:nvPr>
        </p:nvSpPr>
        <p:spPr>
          <a:xfrm>
            <a:off x="10344109" y="2361517"/>
            <a:ext cx="1235075" cy="1234800"/>
          </a:xfrm>
          <a:prstGeom prst="ellipse">
            <a:avLst/>
          </a:prstGeom>
          <a:blipFill dpi="0" rotWithShape="0"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 l="11" r="11"/>
            </a:stretch>
          </a:blipFill>
        </p:spPr>
        <p:txBody>
          <a:bodyPr/>
          <a:lstStyle/>
          <a:p>
            <a:r>
              <a:rPr lang="da-DK"/>
              <a:t>Klik på ikonet for at tilføje et billede</a:t>
            </a:r>
          </a:p>
        </p:txBody>
      </p:sp>
      <p:sp>
        <p:nvSpPr>
          <p:cNvPr id="2" name="Text Placeholder 6">
            <a:extLst>
              <a:ext uri="{FF2B5EF4-FFF2-40B4-BE49-F238E27FC236}">
                <a16:creationId xmlns:a16="http://schemas.microsoft.com/office/drawing/2014/main" id="{44E7A021-CD77-7530-755E-169156FD2F5B}"/>
              </a:ext>
            </a:extLst>
          </p:cNvPr>
          <p:cNvSpPr>
            <a:spLocks noGrp="1"/>
          </p:cNvSpPr>
          <p:nvPr>
            <p:ph type="body" sz="quarter" idx="40" hasCustomPrompt="1"/>
          </p:nvPr>
        </p:nvSpPr>
        <p:spPr>
          <a:xfrm>
            <a:off x="514350" y="981075"/>
            <a:ext cx="11064875" cy="935038"/>
          </a:xfrm>
        </p:spPr>
        <p:txBody>
          <a:bodyPr>
            <a:noAutofit/>
          </a:bodyPr>
          <a:lstStyle>
            <a:lvl1pPr>
              <a:defRPr sz="4800" b="1">
                <a:solidFill>
                  <a:schemeClr val="tx1"/>
                </a:solidFill>
              </a:defRPr>
            </a:lvl1pPr>
            <a:lvl2pPr>
              <a:defRPr sz="4800" b="1">
                <a:solidFill>
                  <a:schemeClr val="bg1"/>
                </a:solidFill>
              </a:defRPr>
            </a:lvl2pPr>
            <a:lvl3pPr>
              <a:defRPr sz="4800" b="1">
                <a:solidFill>
                  <a:schemeClr val="bg1"/>
                </a:solidFill>
              </a:defRPr>
            </a:lvl3pPr>
            <a:lvl4pPr>
              <a:defRPr sz="4800" b="1">
                <a:solidFill>
                  <a:schemeClr val="bg1"/>
                </a:solidFill>
              </a:defRPr>
            </a:lvl4pPr>
            <a:lvl5pPr>
              <a:defRPr sz="4800" b="1"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Headline and employees</a:t>
            </a:r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1100472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quote or statement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A8070CD-13DA-41D5-8601-72407D66E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379" y="1051160"/>
            <a:ext cx="7416265" cy="505632"/>
          </a:xfrm>
        </p:spPr>
        <p:txBody>
          <a:bodyPr anchor="t"/>
          <a:lstStyle>
            <a:lvl1pPr>
              <a:defRPr sz="2000"/>
            </a:lvl1pPr>
          </a:lstStyle>
          <a:p>
            <a:r>
              <a:rPr lang="en-US"/>
              <a:t>Long quote or statement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8801EFD-1D0C-4B01-9216-7AA7682BA6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1658124"/>
            <a:ext cx="7416265" cy="4212121"/>
          </a:xfrm>
        </p:spPr>
        <p:txBody>
          <a:bodyPr>
            <a:normAutofit/>
          </a:bodyPr>
          <a:lstStyle>
            <a:lvl1pPr>
              <a:defRPr sz="2000"/>
            </a:lvl1pPr>
            <a:lvl2pPr marL="360000" indent="-180000">
              <a:defRPr sz="2000"/>
            </a:lvl2pPr>
            <a:lvl3pPr marL="540000" indent="-180000">
              <a:defRPr sz="2000"/>
            </a:lvl3pPr>
            <a:lvl4pPr marL="720000" indent="-180000">
              <a:defRPr sz="2000"/>
            </a:lvl4pPr>
            <a:lvl5pPr marL="900000" indent="-180000">
              <a:defRPr sz="20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A51CFC2D-4EED-4396-8438-0C2947626BE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0D36A6D-603C-4616-AA57-B1AD8894F5C6}" type="datetime1">
              <a:rPr lang="en-GB" smtClean="0"/>
              <a:t>16/05/2025</a:t>
            </a:fld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CC30481B-2807-4731-8EB0-4EF8CCB7F8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Titl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A814662A-DED0-404C-9321-D7DF9C0351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991291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quote or statement - light gree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A8070CD-13DA-41D5-8601-72407D66E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379" y="1051160"/>
            <a:ext cx="7416265" cy="505632"/>
          </a:xfrm>
        </p:spPr>
        <p:txBody>
          <a:bodyPr anchor="t"/>
          <a:lstStyle>
            <a:lvl1pPr>
              <a:defRPr sz="2000"/>
            </a:lvl1pPr>
          </a:lstStyle>
          <a:p>
            <a:r>
              <a:rPr lang="en-US"/>
              <a:t>Long quote or statement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8801EFD-1D0C-4B01-9216-7AA7682BA6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1658124"/>
            <a:ext cx="7416265" cy="4212121"/>
          </a:xfrm>
        </p:spPr>
        <p:txBody>
          <a:bodyPr>
            <a:normAutofit/>
          </a:bodyPr>
          <a:lstStyle>
            <a:lvl1pPr>
              <a:defRPr sz="2000"/>
            </a:lvl1pPr>
            <a:lvl2pPr marL="360000" indent="-180000">
              <a:defRPr sz="2000"/>
            </a:lvl2pPr>
            <a:lvl3pPr marL="540000" indent="-180000">
              <a:defRPr sz="2000"/>
            </a:lvl3pPr>
            <a:lvl4pPr marL="720000" indent="-180000">
              <a:defRPr sz="2000"/>
            </a:lvl4pPr>
            <a:lvl5pPr marL="900000" indent="-180000">
              <a:defRPr sz="20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A51CFC2D-4EED-4396-8438-0C2947626BE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0D36A6D-603C-4616-AA57-B1AD8894F5C6}" type="datetime1">
              <a:rPr lang="en-GB" smtClean="0"/>
              <a:t>16/05/2025</a:t>
            </a:fld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CC30481B-2807-4731-8EB0-4EF8CCB7F8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Titl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A814662A-DED0-404C-9321-D7DF9C0351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85165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ong quote or statement -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A8070CD-13DA-41D5-8601-72407D66E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379" y="1051160"/>
            <a:ext cx="7416265" cy="505632"/>
          </a:xfrm>
        </p:spPr>
        <p:txBody>
          <a:bodyPr anchor="t"/>
          <a:lstStyle>
            <a:lvl1pPr>
              <a:defRPr sz="2000"/>
            </a:lvl1pPr>
          </a:lstStyle>
          <a:p>
            <a:r>
              <a:rPr lang="en-US"/>
              <a:t>Long quote or statement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8801EFD-1D0C-4B01-9216-7AA7682BA6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1658124"/>
            <a:ext cx="7416265" cy="4212121"/>
          </a:xfrm>
        </p:spPr>
        <p:txBody>
          <a:bodyPr>
            <a:normAutofit/>
          </a:bodyPr>
          <a:lstStyle>
            <a:lvl1pPr>
              <a:defRPr sz="2000"/>
            </a:lvl1pPr>
            <a:lvl2pPr marL="360000" indent="-180000">
              <a:defRPr sz="2000"/>
            </a:lvl2pPr>
            <a:lvl3pPr marL="540000" indent="-180000">
              <a:defRPr sz="2000"/>
            </a:lvl3pPr>
            <a:lvl4pPr marL="720000" indent="-180000">
              <a:defRPr sz="2000"/>
            </a:lvl4pPr>
            <a:lvl5pPr marL="900000" indent="-180000">
              <a:defRPr sz="2000"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A51CFC2D-4EED-4396-8438-0C2947626BE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B0D36A6D-603C-4616-AA57-B1AD8894F5C6}" type="datetime1">
              <a:rPr lang="en-GB" smtClean="0"/>
              <a:t>16/05/2025</a:t>
            </a:fld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CC30481B-2807-4731-8EB0-4EF8CCB7F8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en-GB"/>
              <a:t>Title</a:t>
            </a:r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A814662A-DED0-404C-9321-D7DF9C0351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98550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headline in bold, two column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26D8F05-CD14-4C93-AF2B-D1602EA95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5"/>
            <a:ext cx="5075238" cy="1007766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Small headline in bold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099905"/>
            <a:ext cx="5075238" cy="37798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9AA2542-C717-4281-8C53-DA013E47489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1" y="981075"/>
            <a:ext cx="5583238" cy="48990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7859764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headline in bold, two columns - light gree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26D8F05-CD14-4C93-AF2B-D1602EA95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5"/>
            <a:ext cx="5075238" cy="1007766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Small headline in bold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099905"/>
            <a:ext cx="5075238" cy="37798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9AA2542-C717-4281-8C53-DA013E47489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1" y="981075"/>
            <a:ext cx="5583238" cy="48990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98648884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headline in bold, two columns -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26D8F05-CD14-4C93-AF2B-D1602EA95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5"/>
            <a:ext cx="5075238" cy="1007766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Small headline in bold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099905"/>
            <a:ext cx="5075238" cy="37798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9AA2542-C717-4281-8C53-DA013E47489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1" y="981075"/>
            <a:ext cx="5583238" cy="48990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4350150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 headline in bold, two columns - light green">
    <p:bg>
      <p:bgPr>
        <a:solidFill>
          <a:srgbClr val="CBE1F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26D8F05-CD14-4C93-AF2B-D1602EA95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5"/>
            <a:ext cx="5075238" cy="1007766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Small headline in bold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099905"/>
            <a:ext cx="5075238" cy="37798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9AA2542-C717-4281-8C53-DA013E47489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1" y="981075"/>
            <a:ext cx="5583238" cy="48990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326456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mall headline in bold, two columns - light blue">
    <p:bg>
      <p:bgPr>
        <a:solidFill>
          <a:srgbClr val="F4A9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26D8F05-CD14-4C93-AF2B-D1602EA95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5"/>
            <a:ext cx="5075238" cy="1007766"/>
          </a:xfrm>
        </p:spPr>
        <p:txBody>
          <a:bodyPr/>
          <a:lstStyle>
            <a:lvl1pPr>
              <a:defRPr sz="2800">
                <a:solidFill>
                  <a:schemeClr val="accent1"/>
                </a:solidFill>
              </a:defRPr>
            </a:lvl1pPr>
          </a:lstStyle>
          <a:p>
            <a:r>
              <a:rPr lang="en-US"/>
              <a:t>Small headline in bold</a:t>
            </a:r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099905"/>
            <a:ext cx="5075238" cy="3779837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12" name="Content Placeholder 11">
            <a:extLst>
              <a:ext uri="{FF2B5EF4-FFF2-40B4-BE49-F238E27FC236}">
                <a16:creationId xmlns:a16="http://schemas.microsoft.com/office/drawing/2014/main" id="{49AA2542-C717-4281-8C53-DA013E474899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6096001" y="981075"/>
            <a:ext cx="5583238" cy="48990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324814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page - Fixed light blu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DD6940C6-B75C-4626-A846-11CF21C73D4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223792" y="3197822"/>
            <a:ext cx="3744415" cy="4623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6980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headline in bold and content boxes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4044383"/>
            <a:ext cx="2519722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26D8F05-CD14-4C93-AF2B-D1602EA95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981075"/>
            <a:ext cx="11152373" cy="503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Small headline in bold</a:t>
            </a:r>
            <a:endParaRPr lang="en-GB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77555054-57C7-4453-B65F-3F350E8FBB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95794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B04D7CE5-8307-4E6B-9A09-D2186B5FD68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75928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719D30EB-F3D5-43DC-8691-560A331FC42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156063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06297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headline in bold and content boxes light brow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4044383"/>
            <a:ext cx="2519722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26D8F05-CD14-4C93-AF2B-D1602EA95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981075"/>
            <a:ext cx="11152373" cy="503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Small headline in bold</a:t>
            </a:r>
            <a:endParaRPr lang="en-GB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77555054-57C7-4453-B65F-3F350E8FBB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95794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B04D7CE5-8307-4E6B-9A09-D2186B5FD68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75928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719D30EB-F3D5-43DC-8691-560A331FC42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156063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72413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headline in bold and content boxes light green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4044383"/>
            <a:ext cx="2519722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26D8F05-CD14-4C93-AF2B-D1602EA95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981075"/>
            <a:ext cx="11152373" cy="503710"/>
          </a:xfrm>
        </p:spPr>
        <p:txBody>
          <a:bodyPr/>
          <a:lstStyle>
            <a:lvl1pPr>
              <a:defRPr sz="2800"/>
            </a:lvl1pPr>
          </a:lstStyle>
          <a:p>
            <a:r>
              <a:rPr lang="en-US"/>
              <a:t>Small headline in bold</a:t>
            </a:r>
            <a:endParaRPr lang="en-GB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77555054-57C7-4453-B65F-3F350E8FBB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95794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B04D7CE5-8307-4E6B-9A09-D2186B5FD68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75928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719D30EB-F3D5-43DC-8691-560A331FC42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156063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accent1"/>
                </a:solidFill>
              </a:defRPr>
            </a:lvl1pPr>
            <a:lvl2pPr marL="0" indent="0">
              <a:buNone/>
              <a:defRPr>
                <a:solidFill>
                  <a:schemeClr val="accent1"/>
                </a:solidFill>
              </a:defRPr>
            </a:lvl2pPr>
            <a:lvl3pPr marL="176213" indent="-107950">
              <a:defRPr>
                <a:solidFill>
                  <a:schemeClr val="accent1"/>
                </a:solidFill>
              </a:defRPr>
            </a:lvl3pPr>
            <a:lvl4pPr marL="265113" indent="-107950">
              <a:defRPr>
                <a:solidFill>
                  <a:schemeClr val="accent1"/>
                </a:solidFill>
              </a:defRPr>
            </a:lvl4pPr>
            <a:lvl5pPr marL="452438" indent="-107950"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476694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headline in bold and content boxes green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4044383"/>
            <a:ext cx="2519722" cy="183254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176213" indent="-107950">
              <a:defRPr>
                <a:solidFill>
                  <a:schemeClr val="bg1"/>
                </a:solidFill>
              </a:defRPr>
            </a:lvl3pPr>
            <a:lvl4pPr marL="265113" indent="-107950">
              <a:defRPr>
                <a:solidFill>
                  <a:schemeClr val="bg1"/>
                </a:solidFill>
              </a:defRPr>
            </a:lvl4pPr>
            <a:lvl5pPr marL="452438" indent="-10795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26D8F05-CD14-4C93-AF2B-D1602EA95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981075"/>
            <a:ext cx="11152373" cy="50371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Small headline in bold</a:t>
            </a:r>
            <a:endParaRPr lang="en-GB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77555054-57C7-4453-B65F-3F350E8FBB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95794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176213" indent="-107950">
              <a:defRPr>
                <a:solidFill>
                  <a:schemeClr val="bg1"/>
                </a:solidFill>
              </a:defRPr>
            </a:lvl3pPr>
            <a:lvl4pPr marL="265113" indent="-107950">
              <a:defRPr>
                <a:solidFill>
                  <a:schemeClr val="bg1"/>
                </a:solidFill>
              </a:defRPr>
            </a:lvl4pPr>
            <a:lvl5pPr marL="452438" indent="-10795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B04D7CE5-8307-4E6B-9A09-D2186B5FD68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75928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176213" indent="-107950">
              <a:defRPr>
                <a:solidFill>
                  <a:schemeClr val="bg1"/>
                </a:solidFill>
              </a:defRPr>
            </a:lvl3pPr>
            <a:lvl4pPr marL="265113" indent="-107950">
              <a:defRPr>
                <a:solidFill>
                  <a:schemeClr val="bg1"/>
                </a:solidFill>
              </a:defRPr>
            </a:lvl4pPr>
            <a:lvl5pPr marL="452438" indent="-10795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719D30EB-F3D5-43DC-8691-560A331FC42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156063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176213" indent="-107950">
              <a:defRPr>
                <a:solidFill>
                  <a:schemeClr val="bg1"/>
                </a:solidFill>
              </a:defRPr>
            </a:lvl3pPr>
            <a:lvl4pPr marL="265113" indent="-107950">
              <a:defRPr>
                <a:solidFill>
                  <a:schemeClr val="bg1"/>
                </a:solidFill>
              </a:defRPr>
            </a:lvl4pPr>
            <a:lvl5pPr marL="452438" indent="-10795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4EE9807B-D5F3-D8B9-EDD5-A3E522C133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7959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mall headline in bold and content boxes red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0AF87B64-01D7-43D7-9690-81FF77C7480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515938" y="4044383"/>
            <a:ext cx="2519722" cy="183254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176213" indent="-107950">
              <a:defRPr>
                <a:solidFill>
                  <a:schemeClr val="bg1"/>
                </a:solidFill>
              </a:defRPr>
            </a:lvl3pPr>
            <a:lvl4pPr marL="265113" indent="-107950">
              <a:defRPr>
                <a:solidFill>
                  <a:schemeClr val="bg1"/>
                </a:solidFill>
              </a:defRPr>
            </a:lvl4pPr>
            <a:lvl5pPr marL="452438" indent="-10795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7" name="Title 6">
            <a:extLst>
              <a:ext uri="{FF2B5EF4-FFF2-40B4-BE49-F238E27FC236}">
                <a16:creationId xmlns:a16="http://schemas.microsoft.com/office/drawing/2014/main" id="{F26D8F05-CD14-4C93-AF2B-D1602EA9519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7" y="981075"/>
            <a:ext cx="11152373" cy="503710"/>
          </a:xfrm>
        </p:spPr>
        <p:txBody>
          <a:bodyPr/>
          <a:lstStyle>
            <a:lvl1pPr>
              <a:defRPr sz="2800">
                <a:solidFill>
                  <a:schemeClr val="bg1"/>
                </a:solidFill>
              </a:defRPr>
            </a:lvl1pPr>
          </a:lstStyle>
          <a:p>
            <a:r>
              <a:rPr lang="en-US"/>
              <a:t>Small headline in bold</a:t>
            </a:r>
            <a:endParaRPr lang="en-GB"/>
          </a:p>
        </p:txBody>
      </p:sp>
      <p:sp>
        <p:nvSpPr>
          <p:cNvPr id="14" name="Content Placeholder 8">
            <a:extLst>
              <a:ext uri="{FF2B5EF4-FFF2-40B4-BE49-F238E27FC236}">
                <a16:creationId xmlns:a16="http://schemas.microsoft.com/office/drawing/2014/main" id="{77555054-57C7-4453-B65F-3F350E8FBBF3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3395794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176213" indent="-107950">
              <a:defRPr>
                <a:solidFill>
                  <a:schemeClr val="bg1"/>
                </a:solidFill>
              </a:defRPr>
            </a:lvl3pPr>
            <a:lvl4pPr marL="265113" indent="-107950">
              <a:defRPr>
                <a:solidFill>
                  <a:schemeClr val="bg1"/>
                </a:solidFill>
              </a:defRPr>
            </a:lvl4pPr>
            <a:lvl5pPr marL="452438" indent="-10795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Content Placeholder 8">
            <a:extLst>
              <a:ext uri="{FF2B5EF4-FFF2-40B4-BE49-F238E27FC236}">
                <a16:creationId xmlns:a16="http://schemas.microsoft.com/office/drawing/2014/main" id="{B04D7CE5-8307-4E6B-9A09-D2186B5FD685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6275928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176213" indent="-107950">
              <a:defRPr>
                <a:solidFill>
                  <a:schemeClr val="bg1"/>
                </a:solidFill>
              </a:defRPr>
            </a:lvl3pPr>
            <a:lvl4pPr marL="265113" indent="-107950">
              <a:defRPr>
                <a:solidFill>
                  <a:schemeClr val="bg1"/>
                </a:solidFill>
              </a:defRPr>
            </a:lvl4pPr>
            <a:lvl5pPr marL="452438" indent="-10795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ontent Placeholder 8">
            <a:extLst>
              <a:ext uri="{FF2B5EF4-FFF2-40B4-BE49-F238E27FC236}">
                <a16:creationId xmlns:a16="http://schemas.microsoft.com/office/drawing/2014/main" id="{719D30EB-F3D5-43DC-8691-560A331FC424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9156063" y="4044383"/>
            <a:ext cx="2520000" cy="1832542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 marL="0" indent="0">
              <a:buNone/>
              <a:defRPr>
                <a:solidFill>
                  <a:schemeClr val="bg1"/>
                </a:solidFill>
              </a:defRPr>
            </a:lvl2pPr>
            <a:lvl3pPr marL="176213" indent="-107950">
              <a:defRPr>
                <a:solidFill>
                  <a:schemeClr val="bg1"/>
                </a:solidFill>
              </a:defRPr>
            </a:lvl3pPr>
            <a:lvl4pPr marL="265113" indent="-107950">
              <a:defRPr>
                <a:solidFill>
                  <a:schemeClr val="bg1"/>
                </a:solidFill>
              </a:defRPr>
            </a:lvl4pPr>
            <a:lvl5pPr marL="452438" indent="-107950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Subject Title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pic>
        <p:nvPicPr>
          <p:cNvPr id="3" name="Picture 2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4EE9807B-D5F3-D8B9-EDD5-A3E522C1333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2104" y="6339320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91020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Media ho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Media Placeholder 5">
            <a:extLst>
              <a:ext uri="{FF2B5EF4-FFF2-40B4-BE49-F238E27FC236}">
                <a16:creationId xmlns:a16="http://schemas.microsoft.com/office/drawing/2014/main" id="{C85DBEA7-2E8B-453D-A224-CBE11F3BBB75}"/>
              </a:ext>
            </a:extLst>
          </p:cNvPr>
          <p:cNvSpPr>
            <a:spLocks noGrp="1"/>
          </p:cNvSpPr>
          <p:nvPr>
            <p:ph type="media" sz="quarter" idx="13"/>
          </p:nvPr>
        </p:nvSpPr>
        <p:spPr>
          <a:xfrm>
            <a:off x="0" y="0"/>
            <a:ext cx="12192000" cy="6858000"/>
          </a:xfrm>
          <a:solidFill>
            <a:schemeClr val="accent1"/>
          </a:solid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da-DK"/>
              <a:t>Klik på ikonet for at tilføje et medie</a:t>
            </a:r>
            <a:endParaRPr lang="en-GB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0A9B70A-3508-4AD9-A258-2812223A2C10}"/>
              </a:ext>
            </a:extLst>
          </p:cNvPr>
          <p:cNvSpPr>
            <a:spLocks noGrp="1" noChangeAspect="1"/>
          </p:cNvSpPr>
          <p:nvPr>
            <p:ph type="body" sz="quarter" idx="14" hasCustomPrompt="1"/>
          </p:nvPr>
        </p:nvSpPr>
        <p:spPr>
          <a:xfrm>
            <a:off x="5393532" y="2726532"/>
            <a:ext cx="1404936" cy="1404936"/>
          </a:xfrm>
          <a:prstGeom prst="ellipse">
            <a:avLst/>
          </a:prstGeom>
          <a:solidFill>
            <a:schemeClr val="bg1"/>
          </a:solidFill>
        </p:spPr>
        <p:txBody>
          <a:bodyPr anchor="ctr">
            <a:normAutofit/>
          </a:bodyPr>
          <a:lstStyle>
            <a:lvl1pPr algn="ctr">
              <a:defRPr sz="1400"/>
            </a:lvl1pPr>
          </a:lstStyle>
          <a:p>
            <a:pPr lvl="0"/>
            <a:r>
              <a:rPr lang="en-US"/>
              <a:t>Play film</a:t>
            </a:r>
          </a:p>
        </p:txBody>
      </p:sp>
    </p:spTree>
    <p:extLst>
      <p:ext uri="{BB962C8B-B14F-4D97-AF65-F5344CB8AC3E}">
        <p14:creationId xmlns:p14="http://schemas.microsoft.com/office/powerpoint/2010/main" val="283795442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ld headline with text/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6096000" cy="6858000"/>
          </a:xfr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 algn="ctr"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565400"/>
            <a:ext cx="5083176" cy="3311525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  <a:lvl2pPr>
              <a:defRPr>
                <a:solidFill>
                  <a:schemeClr val="accent1"/>
                </a:solidFill>
              </a:defRPr>
            </a:lvl2pPr>
            <a:lvl3pPr>
              <a:defRPr>
                <a:solidFill>
                  <a:schemeClr val="accent1"/>
                </a:solidFill>
              </a:defRPr>
            </a:lvl3pPr>
            <a:lvl4pPr>
              <a:defRPr>
                <a:solidFill>
                  <a:schemeClr val="accent1"/>
                </a:solidFill>
              </a:defRPr>
            </a:lvl4pPr>
            <a:lvl5pPr>
              <a:defRPr>
                <a:solidFill>
                  <a:schemeClr val="accent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938" y="981074"/>
            <a:ext cx="5075238" cy="1439813"/>
          </a:xfrm>
        </p:spPr>
        <p:txBody>
          <a:bodyPr/>
          <a:lstStyle/>
          <a:p>
            <a:r>
              <a:rPr lang="en-GB"/>
              <a:t>Bold headline</a:t>
            </a:r>
            <a:br>
              <a:rPr lang="en-GB"/>
            </a:br>
            <a:r>
              <a:rPr lang="en-GB"/>
              <a:t>with text/image</a:t>
            </a:r>
          </a:p>
        </p:txBody>
      </p:sp>
    </p:spTree>
    <p:extLst>
      <p:ext uri="{BB962C8B-B14F-4D97-AF65-F5344CB8AC3E}">
        <p14:creationId xmlns:p14="http://schemas.microsoft.com/office/powerpoint/2010/main" val="12977994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ong quote or statem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9A8070CD-13DA-41D5-8601-72407D66EF9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5379" y="1051160"/>
            <a:ext cx="7416265" cy="505632"/>
          </a:xfrm>
        </p:spPr>
        <p:txBody>
          <a:bodyPr anchor="t"/>
          <a:lstStyle>
            <a:lvl1pPr>
              <a:defRPr sz="2000"/>
            </a:lvl1pPr>
          </a:lstStyle>
          <a:p>
            <a:r>
              <a:rPr lang="en-US"/>
              <a:t>Long quote or statement</a:t>
            </a:r>
            <a:endParaRPr lang="en-GB"/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78801EFD-1D0C-4B01-9216-7AA7682BA6D4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1658124"/>
            <a:ext cx="7416265" cy="4212121"/>
          </a:xfrm>
        </p:spPr>
        <p:txBody>
          <a:bodyPr>
            <a:normAutofit/>
          </a:bodyPr>
          <a:lstStyle>
            <a:lvl1pPr>
              <a:defRPr sz="2000"/>
            </a:lvl1pPr>
            <a:lvl2pPr marL="360000" indent="-180000">
              <a:defRPr sz="2000"/>
            </a:lvl2pPr>
            <a:lvl3pPr marL="540000" indent="-180000">
              <a:defRPr sz="2000"/>
            </a:lvl3pPr>
            <a:lvl4pPr marL="720000" indent="-180000">
              <a:defRPr sz="2000"/>
            </a:lvl4pPr>
            <a:lvl5pPr marL="900000" indent="-180000">
              <a:defRPr sz="2000"/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2" name="Date Placeholder 11">
            <a:extLst>
              <a:ext uri="{FF2B5EF4-FFF2-40B4-BE49-F238E27FC236}">
                <a16:creationId xmlns:a16="http://schemas.microsoft.com/office/drawing/2014/main" id="{A51CFC2D-4EED-4396-8438-0C2947626BEF}"/>
              </a:ext>
            </a:extLst>
          </p:cNvPr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3" name="Footer Placeholder 12">
            <a:extLst>
              <a:ext uri="{FF2B5EF4-FFF2-40B4-BE49-F238E27FC236}">
                <a16:creationId xmlns:a16="http://schemas.microsoft.com/office/drawing/2014/main" id="{CC30481B-2807-4731-8EB0-4EF8CCB7F8CC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n-GB"/>
          </a:p>
        </p:txBody>
      </p:sp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A814662A-DED0-404C-9321-D7DF9C03513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0687781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ld headlines with bullets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solidFill>
            <a:schemeClr val="accent1"/>
          </a:solid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0822" y="180157"/>
            <a:ext cx="507907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0825" y="2565400"/>
            <a:ext cx="5079069" cy="33115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0824" y="981074"/>
            <a:ext cx="5079071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Bold headlines</a:t>
            </a:r>
            <a:br>
              <a:rPr lang="en-US"/>
            </a:br>
            <a:r>
              <a:rPr lang="en-US"/>
              <a:t>with bullets</a:t>
            </a:r>
            <a:endParaRPr lang="en-GB"/>
          </a:p>
        </p:txBody>
      </p:sp>
      <p:pic>
        <p:nvPicPr>
          <p:cNvPr id="9" name="Picture 8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AF2F5D09-2174-8948-B718-97A3B1048D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7500578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old headlines with text/background imag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0916FDB6-985A-4325-8F16-CB4887DD7CE6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6858000"/>
          </a:xfrm>
          <a:blipFill>
            <a:blip r:embed="rId2"/>
            <a:stretch>
              <a:fillRect/>
            </a:stretch>
          </a:blipFill>
        </p:spPr>
        <p:txBody>
          <a:bodyPr>
            <a:normAutofit/>
          </a:bodyPr>
          <a:lstStyle>
            <a:lvl1pPr algn="ctr">
              <a:defRPr sz="2000">
                <a:solidFill>
                  <a:schemeClr val="bg1"/>
                </a:solidFill>
              </a:defRPr>
            </a:lvl1pPr>
          </a:lstStyle>
          <a:p>
            <a:r>
              <a:rPr lang="en-GB"/>
              <a:t>Click icon to add picture</a:t>
            </a:r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2DBA50A1-B064-42AD-BA7E-9DC2FE1C854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2DDB4FC4-2CE5-4347-8044-7A95CBEB8BE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endParaRPr lang="en-GB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1400C19E-1109-477C-BFBC-59B9C2F23EE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CB54C84-D28E-4EED-A341-62D42E03234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Bold headlines with</a:t>
            </a:r>
            <a:br>
              <a:rPr lang="en-GB"/>
            </a:br>
            <a:r>
              <a:rPr lang="en-GB"/>
              <a:t>text/background image</a:t>
            </a: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5B59C54-DAAA-4D56-B70A-664BE5F1ABF6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9" y="2565400"/>
            <a:ext cx="5075238" cy="33115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pic>
        <p:nvPicPr>
          <p:cNvPr id="12" name="Picture 11" descr="A picture containing text, clipart&#10;&#10;Description automatically generated">
            <a:extLst>
              <a:ext uri="{FF2B5EF4-FFF2-40B4-BE49-F238E27FC236}">
                <a16:creationId xmlns:a16="http://schemas.microsoft.com/office/drawing/2014/main" id="{96E302CE-C687-7F45-B58B-77683593AB4F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9076" y="6344293"/>
            <a:ext cx="1519200" cy="1860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82237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page - Fixed Helix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lede 15" descr="Et billede, der indeholder mølle, tilbehør, vektorgrafik&#10;&#10;Automatisk genereret beskrivelse">
            <a:extLst>
              <a:ext uri="{FF2B5EF4-FFF2-40B4-BE49-F238E27FC236}">
                <a16:creationId xmlns:a16="http://schemas.microsoft.com/office/drawing/2014/main" id="{D6E8A0BD-B739-4778-80A5-487A8B62454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flipH="1" flipV="1">
            <a:off x="2508" y="0"/>
            <a:ext cx="12195614" cy="6858000"/>
          </a:xfrm>
          <a:prstGeom prst="rect">
            <a:avLst/>
          </a:prstGeom>
        </p:spPr>
      </p:pic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F4DC8FFF-668D-4348-BAB4-FEAF261F8322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4224000" y="3198600"/>
            <a:ext cx="3744000" cy="460800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80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en-GB" err="1"/>
              <a:t>Klik</a:t>
            </a:r>
            <a:r>
              <a:rPr lang="en-GB"/>
              <a:t> for at </a:t>
            </a:r>
            <a:r>
              <a:rPr lang="en-GB" err="1"/>
              <a:t>redigere</a:t>
            </a:r>
            <a:r>
              <a:rPr lang="en-GB"/>
              <a:t> </a:t>
            </a:r>
            <a:r>
              <a:rPr lang="en-GB" err="1"/>
              <a:t>teksttypografierne</a:t>
            </a:r>
            <a:r>
              <a:rPr lang="en-GB"/>
              <a:t> </a:t>
            </a:r>
            <a:r>
              <a:rPr lang="en-GB" err="1"/>
              <a:t>i</a:t>
            </a:r>
            <a:r>
              <a:rPr lang="en-GB"/>
              <a:t> </a:t>
            </a:r>
            <a:r>
              <a:rPr lang="en-GB" err="1"/>
              <a:t>masteren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4384993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arge image, Bold headline with bullets - blue office image">
    <p:bg>
      <p:bgPr>
        <a:solidFill>
          <a:srgbClr val="F4A9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8346784-01A0-416F-80F8-AA199BCCBAA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6096000" cy="6858000"/>
          </a:xfrm>
          <a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vert="horz" lIns="0" tIns="0" rIns="0" bIns="0" rtlCol="0">
            <a:normAutofit/>
          </a:bodyPr>
          <a:lstStyle>
            <a:lvl1pPr>
              <a:defRPr lang="en-GB" sz="2000">
                <a:solidFill>
                  <a:schemeClr val="bg1"/>
                </a:solidFill>
              </a:defRPr>
            </a:lvl1pPr>
          </a:lstStyle>
          <a:p>
            <a:pPr lvl="0" algn="ctr"/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085424BA-AE4E-4AFE-B689-1BCC2015B348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390DB8ED-DF6A-402B-AEF3-200862209FBF}" type="datetime1">
              <a:rPr lang="en-GB" smtClean="0"/>
              <a:pPr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64017289-0777-4DE8-A815-0F959393E37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6600822" y="180157"/>
            <a:ext cx="5079072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396CFFC1-A513-4582-9539-A6E061F6B3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C502D6E4-3367-4226-97B1-43BCD6667D9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0825" y="2565400"/>
            <a:ext cx="5079069" cy="3311525"/>
          </a:xfrm>
        </p:spPr>
        <p:txBody>
          <a:bodyPr/>
          <a:lstStyle>
            <a:lvl1pPr>
              <a:defRPr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019AA930-D179-4141-A8CC-2CD90215934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600824" y="981074"/>
            <a:ext cx="5079071" cy="1439813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en-US"/>
              <a:t>Bold headlines</a:t>
            </a:r>
            <a:br>
              <a:rPr lang="en-US"/>
            </a:br>
            <a:r>
              <a:rPr lang="en-US"/>
              <a:t>with bullets</a:t>
            </a:r>
            <a:endParaRPr lang="en-GB"/>
          </a:p>
        </p:txBody>
      </p:sp>
      <p:sp>
        <p:nvSpPr>
          <p:cNvPr id="2" name="Pladsholder til tekst 4">
            <a:extLst>
              <a:ext uri="{FF2B5EF4-FFF2-40B4-BE49-F238E27FC236}">
                <a16:creationId xmlns:a16="http://schemas.microsoft.com/office/drawing/2014/main" id="{EA75DCA7-E8A7-BC2A-7344-3120B7E51E99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551384" y="6237312"/>
            <a:ext cx="1656184" cy="203838"/>
          </a:xfrm>
          <a:prstGeom prst="rect">
            <a:avLst/>
          </a:prstGeom>
          <a:blipFill>
            <a:blip r:embed="rId3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 bIns="19800000"/>
          <a:lstStyle>
            <a:lvl1pPr>
              <a:defRPr sz="100">
                <a:solidFill>
                  <a:schemeClr val="bg1">
                    <a:lumMod val="95000"/>
                  </a:schemeClr>
                </a:solidFill>
              </a:defRPr>
            </a:lvl1pPr>
            <a:lvl2pPr marL="144000" indent="0">
              <a:buNone/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</p:txBody>
      </p:sp>
    </p:spTree>
    <p:extLst>
      <p:ext uri="{BB962C8B-B14F-4D97-AF65-F5344CB8AC3E}">
        <p14:creationId xmlns:p14="http://schemas.microsoft.com/office/powerpoint/2010/main" val="119283632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26" Type="http://schemas.openxmlformats.org/officeDocument/2006/relationships/slideLayout" Target="../slideLayouts/slideLayout26.xml"/><Relationship Id="rId21" Type="http://schemas.openxmlformats.org/officeDocument/2006/relationships/slideLayout" Target="../slideLayouts/slideLayout21.xml"/><Relationship Id="rId42" Type="http://schemas.openxmlformats.org/officeDocument/2006/relationships/slideLayout" Target="../slideLayouts/slideLayout42.xml"/><Relationship Id="rId47" Type="http://schemas.openxmlformats.org/officeDocument/2006/relationships/slideLayout" Target="../slideLayouts/slideLayout47.xml"/><Relationship Id="rId63" Type="http://schemas.openxmlformats.org/officeDocument/2006/relationships/slideLayout" Target="../slideLayouts/slideLayout63.xml"/><Relationship Id="rId68" Type="http://schemas.openxmlformats.org/officeDocument/2006/relationships/slideLayout" Target="../slideLayouts/slideLayout68.xml"/><Relationship Id="rId84" Type="http://schemas.openxmlformats.org/officeDocument/2006/relationships/image" Target="../media/image2.png"/><Relationship Id="rId1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11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53" Type="http://schemas.openxmlformats.org/officeDocument/2006/relationships/slideLayout" Target="../slideLayouts/slideLayout53.xml"/><Relationship Id="rId58" Type="http://schemas.openxmlformats.org/officeDocument/2006/relationships/slideLayout" Target="../slideLayouts/slideLayout58.xml"/><Relationship Id="rId74" Type="http://schemas.openxmlformats.org/officeDocument/2006/relationships/slideLayout" Target="../slideLayouts/slideLayout74.xml"/><Relationship Id="rId79" Type="http://schemas.openxmlformats.org/officeDocument/2006/relationships/slideLayout" Target="../slideLayouts/slideLayout79.xml"/><Relationship Id="rId5" Type="http://schemas.openxmlformats.org/officeDocument/2006/relationships/slideLayout" Target="../slideLayouts/slideLayout5.xml"/><Relationship Id="rId61" Type="http://schemas.openxmlformats.org/officeDocument/2006/relationships/slideLayout" Target="../slideLayouts/slideLayout61.xml"/><Relationship Id="rId82" Type="http://schemas.openxmlformats.org/officeDocument/2006/relationships/oleObject" Target="../embeddings/oleObject1.bin"/><Relationship Id="rId19" Type="http://schemas.openxmlformats.org/officeDocument/2006/relationships/slideLayout" Target="../slideLayouts/slideLayout1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slideLayout" Target="../slideLayouts/slideLayout43.xml"/><Relationship Id="rId48" Type="http://schemas.openxmlformats.org/officeDocument/2006/relationships/slideLayout" Target="../slideLayouts/slideLayout48.xml"/><Relationship Id="rId56" Type="http://schemas.openxmlformats.org/officeDocument/2006/relationships/slideLayout" Target="../slideLayouts/slideLayout56.xml"/><Relationship Id="rId64" Type="http://schemas.openxmlformats.org/officeDocument/2006/relationships/slideLayout" Target="../slideLayouts/slideLayout64.xml"/><Relationship Id="rId69" Type="http://schemas.openxmlformats.org/officeDocument/2006/relationships/slideLayout" Target="../slideLayouts/slideLayout69.xml"/><Relationship Id="rId77" Type="http://schemas.openxmlformats.org/officeDocument/2006/relationships/slideLayout" Target="../slideLayouts/slideLayout77.xml"/><Relationship Id="rId8" Type="http://schemas.openxmlformats.org/officeDocument/2006/relationships/slideLayout" Target="../slideLayouts/slideLayout8.xml"/><Relationship Id="rId51" Type="http://schemas.openxmlformats.org/officeDocument/2006/relationships/slideLayout" Target="../slideLayouts/slideLayout51.xml"/><Relationship Id="rId72" Type="http://schemas.openxmlformats.org/officeDocument/2006/relationships/slideLayout" Target="../slideLayouts/slideLayout72.xml"/><Relationship Id="rId80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46" Type="http://schemas.openxmlformats.org/officeDocument/2006/relationships/slideLayout" Target="../slideLayouts/slideLayout46.xml"/><Relationship Id="rId59" Type="http://schemas.openxmlformats.org/officeDocument/2006/relationships/slideLayout" Target="../slideLayouts/slideLayout59.xml"/><Relationship Id="rId67" Type="http://schemas.openxmlformats.org/officeDocument/2006/relationships/slideLayout" Target="../slideLayouts/slideLayout67.xml"/><Relationship Id="rId20" Type="http://schemas.openxmlformats.org/officeDocument/2006/relationships/slideLayout" Target="../slideLayouts/slideLayout20.xml"/><Relationship Id="rId41" Type="http://schemas.openxmlformats.org/officeDocument/2006/relationships/slideLayout" Target="../slideLayouts/slideLayout41.xml"/><Relationship Id="rId54" Type="http://schemas.openxmlformats.org/officeDocument/2006/relationships/slideLayout" Target="../slideLayouts/slideLayout54.xml"/><Relationship Id="rId62" Type="http://schemas.openxmlformats.org/officeDocument/2006/relationships/slideLayout" Target="../slideLayouts/slideLayout62.xml"/><Relationship Id="rId70" Type="http://schemas.openxmlformats.org/officeDocument/2006/relationships/slideLayout" Target="../slideLayouts/slideLayout70.xml"/><Relationship Id="rId75" Type="http://schemas.openxmlformats.org/officeDocument/2006/relationships/slideLayout" Target="../slideLayouts/slideLayout75.xml"/><Relationship Id="rId83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49" Type="http://schemas.openxmlformats.org/officeDocument/2006/relationships/slideLayout" Target="../slideLayouts/slideLayout49.xml"/><Relationship Id="rId57" Type="http://schemas.openxmlformats.org/officeDocument/2006/relationships/slideLayout" Target="../slideLayouts/slideLayout57.xml"/><Relationship Id="rId10" Type="http://schemas.openxmlformats.org/officeDocument/2006/relationships/slideLayout" Target="../slideLayouts/slideLayout10.xml"/><Relationship Id="rId31" Type="http://schemas.openxmlformats.org/officeDocument/2006/relationships/slideLayout" Target="../slideLayouts/slideLayout31.xml"/><Relationship Id="rId44" Type="http://schemas.openxmlformats.org/officeDocument/2006/relationships/slideLayout" Target="../slideLayouts/slideLayout44.xml"/><Relationship Id="rId52" Type="http://schemas.openxmlformats.org/officeDocument/2006/relationships/slideLayout" Target="../slideLayouts/slideLayout52.xml"/><Relationship Id="rId60" Type="http://schemas.openxmlformats.org/officeDocument/2006/relationships/slideLayout" Target="../slideLayouts/slideLayout60.xml"/><Relationship Id="rId65" Type="http://schemas.openxmlformats.org/officeDocument/2006/relationships/slideLayout" Target="../slideLayouts/slideLayout65.xml"/><Relationship Id="rId73" Type="http://schemas.openxmlformats.org/officeDocument/2006/relationships/slideLayout" Target="../slideLayouts/slideLayout73.xml"/><Relationship Id="rId78" Type="http://schemas.openxmlformats.org/officeDocument/2006/relationships/slideLayout" Target="../slideLayouts/slideLayout78.xml"/><Relationship Id="rId8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9" Type="http://schemas.openxmlformats.org/officeDocument/2006/relationships/slideLayout" Target="../slideLayouts/slideLayout39.xml"/><Relationship Id="rId34" Type="http://schemas.openxmlformats.org/officeDocument/2006/relationships/slideLayout" Target="../slideLayouts/slideLayout34.xml"/><Relationship Id="rId50" Type="http://schemas.openxmlformats.org/officeDocument/2006/relationships/slideLayout" Target="../slideLayouts/slideLayout50.xml"/><Relationship Id="rId55" Type="http://schemas.openxmlformats.org/officeDocument/2006/relationships/slideLayout" Target="../slideLayouts/slideLayout55.xml"/><Relationship Id="rId76" Type="http://schemas.openxmlformats.org/officeDocument/2006/relationships/slideLayout" Target="../slideLayouts/slideLayout76.xml"/><Relationship Id="rId7" Type="http://schemas.openxmlformats.org/officeDocument/2006/relationships/slideLayout" Target="../slideLayouts/slideLayout7.xml"/><Relationship Id="rId71" Type="http://schemas.openxmlformats.org/officeDocument/2006/relationships/slideLayout" Target="../slideLayouts/slideLayout71.xml"/><Relationship Id="rId2" Type="http://schemas.openxmlformats.org/officeDocument/2006/relationships/slideLayout" Target="../slideLayouts/slideLayout2.xml"/><Relationship Id="rId29" Type="http://schemas.openxmlformats.org/officeDocument/2006/relationships/slideLayout" Target="../slideLayouts/slideLayout29.xml"/><Relationship Id="rId24" Type="http://schemas.openxmlformats.org/officeDocument/2006/relationships/slideLayout" Target="../slideLayouts/slideLayout24.xml"/><Relationship Id="rId40" Type="http://schemas.openxmlformats.org/officeDocument/2006/relationships/slideLayout" Target="../slideLayouts/slideLayout40.xml"/><Relationship Id="rId45" Type="http://schemas.openxmlformats.org/officeDocument/2006/relationships/slideLayout" Target="../slideLayouts/slideLayout45.xml"/><Relationship Id="rId66" Type="http://schemas.openxmlformats.org/officeDocument/2006/relationships/slideLayout" Target="../slideLayouts/slideLayout6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54E2492-FC77-CD4F-83A1-BBA52726323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1"/>
            </p:custDataLst>
            <p:extLst>
              <p:ext uri="{D42A27DB-BD31-4B8C-83A1-F6EECF244321}">
                <p14:modId xmlns:p14="http://schemas.microsoft.com/office/powerpoint/2010/main" val="1192714387"/>
              </p:ext>
            </p:extLst>
          </p:nvPr>
        </p:nvGraphicFramePr>
        <p:xfrm>
          <a:off x="1588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82" imgW="7772400" imgH="10058400" progId="TCLayout.ActiveDocument.1">
                  <p:embed/>
                </p:oleObj>
              </mc:Choice>
              <mc:Fallback>
                <p:oleObj name="think-cell Slide" r:id="rId82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54E2492-FC77-CD4F-83A1-BBA52726323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dsholder til titel 1">
            <a:extLst>
              <a:ext uri="{FF2B5EF4-FFF2-40B4-BE49-F238E27FC236}">
                <a16:creationId xmlns:a16="http://schemas.microsoft.com/office/drawing/2014/main" id="{C615A2BC-20A6-4087-8DC7-AABB802ABB3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981074"/>
            <a:ext cx="6732190" cy="143981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en-GB"/>
          </a:p>
        </p:txBody>
      </p:sp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4F1BD5E3-F58F-451C-85B0-E8507C5F6B35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29967" y="6308927"/>
            <a:ext cx="2743200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B0D36A6D-603C-4616-AA57-B1AD8894F5C6}" type="datetime1">
              <a:rPr lang="en-GB" smtClean="0"/>
              <a:t>16/05/2025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E6CACFFE-2BDF-48B5-8B15-E863CD4513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15380" y="180157"/>
            <a:ext cx="5075796" cy="365125"/>
          </a:xfrm>
          <a:prstGeom prst="rect">
            <a:avLst/>
          </a:prstGeom>
        </p:spPr>
        <p:txBody>
          <a:bodyPr vert="horz" lIns="0" tIns="0" rIns="0" bIns="0" rtlCol="0" anchor="b">
            <a:noAutofit/>
          </a:bodyPr>
          <a:lstStyle>
            <a:lvl1pPr algn="l">
              <a:defRPr sz="1100">
                <a:solidFill>
                  <a:schemeClr val="accent1"/>
                </a:solidFill>
              </a:defRPr>
            </a:lvl1pPr>
          </a:lstStyle>
          <a:p>
            <a:r>
              <a:rPr lang="en-GB"/>
              <a:t>Title</a:t>
            </a:r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1EC8109-3915-479D-81B2-82826C3D08B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136560" y="6308928"/>
            <a:ext cx="543336" cy="365125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>
            <a:lvl1pPr algn="r">
              <a:defRPr sz="1100">
                <a:solidFill>
                  <a:schemeClr val="accent1"/>
                </a:solidFill>
              </a:defRPr>
            </a:lvl1pPr>
          </a:lstStyle>
          <a:p>
            <a:fld id="{811673A4-D707-475A-BF47-C05C70FAC46A}" type="slidenum">
              <a:rPr lang="en-GB" smtClean="0"/>
              <a:pPr/>
              <a:t>‹#›</a:t>
            </a:fld>
            <a:endParaRPr lang="en-GB"/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B2F75C6F-4D24-4E44-93EE-74058228D260}"/>
              </a:ext>
            </a:extLst>
          </p:cNvPr>
          <p:cNvPicPr>
            <a:picLocks noChangeAspect="1"/>
          </p:cNvPicPr>
          <p:nvPr userDrawn="1"/>
        </p:nvPicPr>
        <p:blipFill>
          <a:blip r:embed="rId8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8" y="6345324"/>
            <a:ext cx="1519660" cy="187646"/>
          </a:xfrm>
          <a:prstGeom prst="rect">
            <a:avLst/>
          </a:prstGeom>
        </p:spPr>
      </p:pic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2A69BB4A-D696-4957-BADD-4C5A9A5A094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2565400"/>
            <a:ext cx="11160125" cy="3311525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716208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731" r:id="rId2"/>
    <p:sldLayoutId id="2147483733" r:id="rId3"/>
    <p:sldLayoutId id="2147483732" r:id="rId4"/>
    <p:sldLayoutId id="2147483661" r:id="rId5"/>
    <p:sldLayoutId id="2147483663" r:id="rId6"/>
    <p:sldLayoutId id="2147483678" r:id="rId7"/>
    <p:sldLayoutId id="2147483664" r:id="rId8"/>
    <p:sldLayoutId id="2147483673" r:id="rId9"/>
    <p:sldLayoutId id="2147483679" r:id="rId10"/>
    <p:sldLayoutId id="2147483680" r:id="rId11"/>
    <p:sldLayoutId id="2147483681" r:id="rId12"/>
    <p:sldLayoutId id="2147483682" r:id="rId13"/>
    <p:sldLayoutId id="2147483683" r:id="rId14"/>
    <p:sldLayoutId id="2147483684" r:id="rId15"/>
    <p:sldLayoutId id="2147483685" r:id="rId16"/>
    <p:sldLayoutId id="2147483671" r:id="rId17"/>
    <p:sldLayoutId id="2147483734" r:id="rId18"/>
    <p:sldLayoutId id="2147483735" r:id="rId19"/>
    <p:sldLayoutId id="2147483736" r:id="rId20"/>
    <p:sldLayoutId id="2147483688" r:id="rId21"/>
    <p:sldLayoutId id="2147483690" r:id="rId22"/>
    <p:sldLayoutId id="2147483689" r:id="rId23"/>
    <p:sldLayoutId id="2147483691" r:id="rId24"/>
    <p:sldLayoutId id="2147483668" r:id="rId25"/>
    <p:sldLayoutId id="2147483686" r:id="rId26"/>
    <p:sldLayoutId id="2147483687" r:id="rId27"/>
    <p:sldLayoutId id="2147483708" r:id="rId28"/>
    <p:sldLayoutId id="2147483695" r:id="rId29"/>
    <p:sldLayoutId id="2147483696" r:id="rId30"/>
    <p:sldLayoutId id="2147483707" r:id="rId31"/>
    <p:sldLayoutId id="2147483709" r:id="rId32"/>
    <p:sldLayoutId id="2147483710" r:id="rId33"/>
    <p:sldLayoutId id="2147483694" r:id="rId34"/>
    <p:sldLayoutId id="2147483667" r:id="rId35"/>
    <p:sldLayoutId id="2147483693" r:id="rId36"/>
    <p:sldLayoutId id="2147483649" r:id="rId37"/>
    <p:sldLayoutId id="2147483692" r:id="rId38"/>
    <p:sldLayoutId id="2147483716" r:id="rId39"/>
    <p:sldLayoutId id="2147483717" r:id="rId40"/>
    <p:sldLayoutId id="2147483718" r:id="rId41"/>
    <p:sldLayoutId id="2147483697" r:id="rId42"/>
    <p:sldLayoutId id="2147483698" r:id="rId43"/>
    <p:sldLayoutId id="2147483711" r:id="rId44"/>
    <p:sldLayoutId id="2147483712" r:id="rId45"/>
    <p:sldLayoutId id="2147483713" r:id="rId46"/>
    <p:sldLayoutId id="2147483714" r:id="rId47"/>
    <p:sldLayoutId id="2147483715" r:id="rId48"/>
    <p:sldLayoutId id="2147483651" r:id="rId49"/>
    <p:sldLayoutId id="2147483699" r:id="rId50"/>
    <p:sldLayoutId id="2147483675" r:id="rId51"/>
    <p:sldLayoutId id="2147483665" r:id="rId52"/>
    <p:sldLayoutId id="2147483700" r:id="rId53"/>
    <p:sldLayoutId id="2147483701" r:id="rId54"/>
    <p:sldLayoutId id="2147483704" r:id="rId55"/>
    <p:sldLayoutId id="2147483702" r:id="rId56"/>
    <p:sldLayoutId id="2147483703" r:id="rId57"/>
    <p:sldLayoutId id="2147483705" r:id="rId58"/>
    <p:sldLayoutId id="2147483719" r:id="rId59"/>
    <p:sldLayoutId id="2147483729" r:id="rId60"/>
    <p:sldLayoutId id="2147483730" r:id="rId61"/>
    <p:sldLayoutId id="2147483666" r:id="rId62"/>
    <p:sldLayoutId id="2147483724" r:id="rId63"/>
    <p:sldLayoutId id="2147483725" r:id="rId64"/>
    <p:sldLayoutId id="2147483670" r:id="rId65"/>
    <p:sldLayoutId id="2147483726" r:id="rId66"/>
    <p:sldLayoutId id="2147483727" r:id="rId67"/>
    <p:sldLayoutId id="2147483737" r:id="rId68"/>
    <p:sldLayoutId id="2147483738" r:id="rId69"/>
    <p:sldLayoutId id="2147483669" r:id="rId70"/>
    <p:sldLayoutId id="2147483720" r:id="rId71"/>
    <p:sldLayoutId id="2147483721" r:id="rId72"/>
    <p:sldLayoutId id="2147483722" r:id="rId73"/>
    <p:sldLayoutId id="2147483723" r:id="rId74"/>
    <p:sldLayoutId id="2147483655" r:id="rId75"/>
    <p:sldLayoutId id="2147483739" r:id="rId76"/>
    <p:sldLayoutId id="2147483740" r:id="rId77"/>
    <p:sldLayoutId id="2147483741" r:id="rId78"/>
    <p:sldLayoutId id="2147483743" r:id="rId79"/>
  </p:sldLayoutIdLst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hf sldNum="0" hd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48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None/>
        <a:defRPr sz="1000" kern="1200">
          <a:solidFill>
            <a:schemeClr val="accent1"/>
          </a:solidFill>
          <a:latin typeface="+mn-lt"/>
          <a:ea typeface="+mn-ea"/>
          <a:cs typeface="+mn-cs"/>
        </a:defRPr>
      </a:lvl1pPr>
      <a:lvl2pPr marL="252000" indent="-10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2pPr>
      <a:lvl3pPr marL="360000" indent="-10795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3pPr>
      <a:lvl4pPr marL="468000" indent="-10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4pPr>
      <a:lvl5pPr marL="576000" indent="-108000" algn="l" defTabSz="914400" rtl="0" eaLnBrk="1" latinLnBrk="0" hangingPunct="1">
        <a:lnSpc>
          <a:spcPct val="100000"/>
        </a:lnSpc>
        <a:spcBef>
          <a:spcPts val="0"/>
        </a:spcBef>
        <a:buFont typeface="Arial" panose="020B0604020202020204" pitchFamily="34" charset="0"/>
        <a:buChar char="•"/>
        <a:defRPr sz="1000" kern="1200">
          <a:solidFill>
            <a:schemeClr val="accent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1616" userDrawn="1">
          <p15:clr>
            <a:srgbClr val="F26B43"/>
          </p15:clr>
        </p15:guide>
        <p15:guide id="2" pos="3840" userDrawn="1">
          <p15:clr>
            <a:srgbClr val="F26B43"/>
          </p15:clr>
        </p15:guide>
        <p15:guide id="3" pos="325" userDrawn="1">
          <p15:clr>
            <a:srgbClr val="F26B43"/>
          </p15:clr>
        </p15:guide>
        <p15:guide id="4" pos="7355" userDrawn="1">
          <p15:clr>
            <a:srgbClr val="F26B43"/>
          </p15:clr>
        </p15:guide>
        <p15:guide id="5" orient="horz" pos="3702" userDrawn="1">
          <p15:clr>
            <a:srgbClr val="F26B43"/>
          </p15:clr>
        </p15:guide>
        <p15:guide id="6" pos="4158" userDrawn="1">
          <p15:clr>
            <a:srgbClr val="F26B43"/>
          </p15:clr>
        </p15:guide>
        <p15:guide id="7" pos="3522" userDrawn="1">
          <p15:clr>
            <a:srgbClr val="F26B43"/>
          </p15:clr>
        </p15:guide>
        <p15:guide id="8" orient="horz" pos="618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png"/><Relationship Id="rId1" Type="http://schemas.openxmlformats.org/officeDocument/2006/relationships/slideLayout" Target="../slideLayouts/slideLayout3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6.png"/><Relationship Id="rId13" Type="http://schemas.openxmlformats.org/officeDocument/2006/relationships/image" Target="../media/image61.svg"/><Relationship Id="rId3" Type="http://schemas.openxmlformats.org/officeDocument/2006/relationships/image" Target="../media/image51.svg"/><Relationship Id="rId7" Type="http://schemas.openxmlformats.org/officeDocument/2006/relationships/image" Target="../media/image55.svg"/><Relationship Id="rId12" Type="http://schemas.openxmlformats.org/officeDocument/2006/relationships/image" Target="../media/image60.png"/><Relationship Id="rId2" Type="http://schemas.openxmlformats.org/officeDocument/2006/relationships/image" Target="../media/image50.png"/><Relationship Id="rId16" Type="http://schemas.openxmlformats.org/officeDocument/2006/relationships/image" Target="../media/image37.png"/><Relationship Id="rId1" Type="http://schemas.openxmlformats.org/officeDocument/2006/relationships/slideLayout" Target="../slideLayouts/slideLayout22.xml"/><Relationship Id="rId6" Type="http://schemas.openxmlformats.org/officeDocument/2006/relationships/image" Target="../media/image54.png"/><Relationship Id="rId11" Type="http://schemas.openxmlformats.org/officeDocument/2006/relationships/image" Target="../media/image59.svg"/><Relationship Id="rId5" Type="http://schemas.openxmlformats.org/officeDocument/2006/relationships/image" Target="../media/image53.svg"/><Relationship Id="rId15" Type="http://schemas.openxmlformats.org/officeDocument/2006/relationships/image" Target="../media/image63.svg"/><Relationship Id="rId10" Type="http://schemas.openxmlformats.org/officeDocument/2006/relationships/image" Target="../media/image58.png"/><Relationship Id="rId4" Type="http://schemas.openxmlformats.org/officeDocument/2006/relationships/image" Target="../media/image52.png"/><Relationship Id="rId9" Type="http://schemas.openxmlformats.org/officeDocument/2006/relationships/image" Target="../media/image57.svg"/><Relationship Id="rId14" Type="http://schemas.openxmlformats.org/officeDocument/2006/relationships/image" Target="../media/image62.png"/></Relationships>
</file>

<file path=ppt/slides/_rels/slide1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9.svg"/><Relationship Id="rId13" Type="http://schemas.openxmlformats.org/officeDocument/2006/relationships/image" Target="../media/image37.png"/><Relationship Id="rId3" Type="http://schemas.openxmlformats.org/officeDocument/2006/relationships/image" Target="../media/image64.png"/><Relationship Id="rId7" Type="http://schemas.openxmlformats.org/officeDocument/2006/relationships/image" Target="../media/image68.png"/><Relationship Id="rId12" Type="http://schemas.openxmlformats.org/officeDocument/2006/relationships/image" Target="../media/image73.sv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79.xml"/><Relationship Id="rId6" Type="http://schemas.openxmlformats.org/officeDocument/2006/relationships/image" Target="../media/image67.svg"/><Relationship Id="rId11" Type="http://schemas.openxmlformats.org/officeDocument/2006/relationships/image" Target="../media/image72.png"/><Relationship Id="rId5" Type="http://schemas.openxmlformats.org/officeDocument/2006/relationships/image" Target="../media/image66.png"/><Relationship Id="rId10" Type="http://schemas.openxmlformats.org/officeDocument/2006/relationships/image" Target="../media/image71.svg"/><Relationship Id="rId4" Type="http://schemas.openxmlformats.org/officeDocument/2006/relationships/image" Target="../media/image65.png"/><Relationship Id="rId9" Type="http://schemas.openxmlformats.org/officeDocument/2006/relationships/image" Target="../media/image70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4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78.xml"/><Relationship Id="rId4" Type="http://schemas.openxmlformats.org/officeDocument/2006/relationships/image" Target="../media/image37.pn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9.png"/><Relationship Id="rId3" Type="http://schemas.openxmlformats.org/officeDocument/2006/relationships/image" Target="../media/image52.png"/><Relationship Id="rId7" Type="http://schemas.openxmlformats.org/officeDocument/2006/relationships/image" Target="../media/image78.png"/><Relationship Id="rId2" Type="http://schemas.openxmlformats.org/officeDocument/2006/relationships/image" Target="../media/image75.jpeg"/><Relationship Id="rId1" Type="http://schemas.openxmlformats.org/officeDocument/2006/relationships/slideLayout" Target="../slideLayouts/slideLayout16.xml"/><Relationship Id="rId6" Type="http://schemas.openxmlformats.org/officeDocument/2006/relationships/image" Target="../media/image77.png"/><Relationship Id="rId5" Type="http://schemas.openxmlformats.org/officeDocument/2006/relationships/image" Target="../media/image76.png"/><Relationship Id="rId10" Type="http://schemas.openxmlformats.org/officeDocument/2006/relationships/image" Target="../media/image37.png"/><Relationship Id="rId4" Type="http://schemas.openxmlformats.org/officeDocument/2006/relationships/image" Target="../media/image53.svg"/><Relationship Id="rId9" Type="http://schemas.openxmlformats.org/officeDocument/2006/relationships/image" Target="../media/image80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image" Target="../media/image27.jpeg"/><Relationship Id="rId1" Type="http://schemas.openxmlformats.org/officeDocument/2006/relationships/slideLayout" Target="../slideLayouts/slideLayout40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7.xml"/><Relationship Id="rId5" Type="http://schemas.openxmlformats.org/officeDocument/2006/relationships/image" Target="../media/image37.png"/><Relationship Id="rId4" Type="http://schemas.openxmlformats.org/officeDocument/2006/relationships/image" Target="../media/image40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7.xml"/><Relationship Id="rId5" Type="http://schemas.openxmlformats.org/officeDocument/2006/relationships/image" Target="../media/image37.png"/><Relationship Id="rId4" Type="http://schemas.openxmlformats.org/officeDocument/2006/relationships/image" Target="../media/image4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1.jpeg"/><Relationship Id="rId1" Type="http://schemas.openxmlformats.org/officeDocument/2006/relationships/slideLayout" Target="../slideLayouts/slideLayout76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77.xml"/><Relationship Id="rId6" Type="http://schemas.openxmlformats.org/officeDocument/2006/relationships/image" Target="../media/image37.png"/><Relationship Id="rId5" Type="http://schemas.openxmlformats.org/officeDocument/2006/relationships/image" Target="../media/image43.png"/><Relationship Id="rId4" Type="http://schemas.openxmlformats.org/officeDocument/2006/relationships/chart" Target="../charts/chart1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4.jpeg"/><Relationship Id="rId1" Type="http://schemas.openxmlformats.org/officeDocument/2006/relationships/slideLayout" Target="../slideLayouts/slideLayout77.xml"/><Relationship Id="rId5" Type="http://schemas.openxmlformats.org/officeDocument/2006/relationships/image" Target="../media/image46.png"/><Relationship Id="rId4" Type="http://schemas.openxmlformats.org/officeDocument/2006/relationships/image" Target="../media/image45.pn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png"/><Relationship Id="rId2" Type="http://schemas.openxmlformats.org/officeDocument/2006/relationships/image" Target="../media/image47.jpeg"/><Relationship Id="rId1" Type="http://schemas.openxmlformats.org/officeDocument/2006/relationships/slideLayout" Target="../slideLayouts/slideLayout65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9.png"/><Relationship Id="rId2" Type="http://schemas.openxmlformats.org/officeDocument/2006/relationships/image" Target="../media/image48.jpeg"/><Relationship Id="rId1" Type="http://schemas.openxmlformats.org/officeDocument/2006/relationships/slideLayout" Target="../slideLayouts/slideLayout65.xml"/><Relationship Id="rId4" Type="http://schemas.openxmlformats.org/officeDocument/2006/relationships/image" Target="../media/image37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dsholder til billede 3">
            <a:extLst>
              <a:ext uri="{FF2B5EF4-FFF2-40B4-BE49-F238E27FC236}">
                <a16:creationId xmlns:a16="http://schemas.microsoft.com/office/drawing/2014/main" id="{EF656E59-E094-24B6-599E-FCA24A43E7B3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/>
        <p:txBody>
          <a:bodyPr/>
          <a:lstStyle/>
          <a:p>
            <a:endParaRPr lang="en-DK"/>
          </a:p>
        </p:txBody>
      </p:sp>
      <p:sp>
        <p:nvSpPr>
          <p:cNvPr id="5" name="Pladsholder til tekst 4">
            <a:extLst>
              <a:ext uri="{FF2B5EF4-FFF2-40B4-BE49-F238E27FC236}">
                <a16:creationId xmlns:a16="http://schemas.microsoft.com/office/drawing/2014/main" id="{BECAD0F5-EF31-F40C-FB7D-A2F8B99C7A3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5447928" y="5301208"/>
            <a:ext cx="3744000" cy="460800"/>
          </a:xfrm>
        </p:spPr>
        <p:txBody>
          <a:bodyPr>
            <a:normAutofit fontScale="25000" lnSpcReduction="20000"/>
          </a:bodyPr>
          <a:lstStyle/>
          <a:p>
            <a:endParaRPr lang="en-DK"/>
          </a:p>
        </p:txBody>
      </p:sp>
      <p:pic>
        <p:nvPicPr>
          <p:cNvPr id="6" name="Picture 2">
            <a:extLst>
              <a:ext uri="{FF2B5EF4-FFF2-40B4-BE49-F238E27FC236}">
                <a16:creationId xmlns:a16="http://schemas.microsoft.com/office/drawing/2014/main" id="{9896CF7A-3ADC-D5F6-9ECB-CDD2AAE69B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 cstate="screen">
            <a:alphaModFix/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639616" y="4919540"/>
            <a:ext cx="2359474" cy="122413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Titel 3">
            <a:extLst>
              <a:ext uri="{FF2B5EF4-FFF2-40B4-BE49-F238E27FC236}">
                <a16:creationId xmlns:a16="http://schemas.microsoft.com/office/drawing/2014/main" id="{820865FE-10E7-EDE9-FE25-9F83A408A4BB}"/>
              </a:ext>
            </a:extLst>
          </p:cNvPr>
          <p:cNvSpPr txBox="1">
            <a:spLocks/>
          </p:cNvSpPr>
          <p:nvPr/>
        </p:nvSpPr>
        <p:spPr>
          <a:xfrm>
            <a:off x="2513881" y="2745097"/>
            <a:ext cx="7164238" cy="1367806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85000"/>
              </a:lnSpc>
              <a:spcBef>
                <a:spcPct val="0"/>
              </a:spcBef>
              <a:buNone/>
              <a:defRPr sz="4800" b="1" kern="1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lang="da-DK">
                <a:solidFill>
                  <a:schemeClr val="bg1"/>
                </a:solidFill>
              </a:rPr>
              <a:t>Energipark Overgaard</a:t>
            </a:r>
            <a:endParaRPr lang="en-DK" sz="600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74333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Content Placeholder 7">
            <a:extLst>
              <a:ext uri="{FF2B5EF4-FFF2-40B4-BE49-F238E27FC236}">
                <a16:creationId xmlns:a16="http://schemas.microsoft.com/office/drawing/2014/main" id="{1BE3E04A-BB84-BDCC-0E37-945B83002E7B}"/>
              </a:ext>
            </a:extLst>
          </p:cNvPr>
          <p:cNvPicPr>
            <a:picLocks noGrp="1" noChangeAspect="1"/>
          </p:cNvPicPr>
          <p:nvPr>
            <p:ph sz="quarter" idx="16"/>
          </p:nvPr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76082" y="-349873"/>
            <a:ext cx="4982675" cy="3003574"/>
          </a:xfrm>
        </p:spPr>
      </p:pic>
      <p:pic>
        <p:nvPicPr>
          <p:cNvPr id="5" name="Content Placeholder 6">
            <a:extLst>
              <a:ext uri="{FF2B5EF4-FFF2-40B4-BE49-F238E27FC236}">
                <a16:creationId xmlns:a16="http://schemas.microsoft.com/office/drawing/2014/main" id="{9A250C75-A938-624A-9FA9-28078959A1A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5357529" y="1552817"/>
            <a:ext cx="6643127" cy="4468471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80AC13C9-976A-658A-D600-197626919AE9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5963584" y="1971692"/>
            <a:ext cx="1064933" cy="1031126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B6D9F2BD-E3D4-D2EA-D7B5-556378D4BBCC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900300" y="1579001"/>
            <a:ext cx="1064933" cy="1064933"/>
          </a:xfrm>
          <a:prstGeom prst="rect">
            <a:avLst/>
          </a:prstGeom>
        </p:spPr>
      </p:pic>
      <p:pic>
        <p:nvPicPr>
          <p:cNvPr id="10" name="Graphic 9">
            <a:extLst>
              <a:ext uri="{FF2B5EF4-FFF2-40B4-BE49-F238E27FC236}">
                <a16:creationId xmlns:a16="http://schemas.microsoft.com/office/drawing/2014/main" id="{2FE540B3-79AC-AFB6-583C-22D5BF7CB48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8044231" y="2508083"/>
            <a:ext cx="1724177" cy="1064933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0BD15A31-5C97-7F42-DFA4-453DD418D62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600826" y="4865520"/>
            <a:ext cx="1295374" cy="1014222"/>
          </a:xfrm>
          <a:prstGeom prst="rect">
            <a:avLst/>
          </a:prstGeom>
        </p:spPr>
      </p:pic>
      <p:pic>
        <p:nvPicPr>
          <p:cNvPr id="12" name="Graphic 11">
            <a:extLst>
              <a:ext uri="{FF2B5EF4-FFF2-40B4-BE49-F238E27FC236}">
                <a16:creationId xmlns:a16="http://schemas.microsoft.com/office/drawing/2014/main" id="{A52D2C51-3855-3B62-601E-3A54BDCC2692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9344099" y="5135979"/>
            <a:ext cx="1504429" cy="743763"/>
          </a:xfrm>
          <a:prstGeom prst="rect">
            <a:avLst/>
          </a:prstGeom>
        </p:spPr>
      </p:pic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411148EB-A748-2115-2BB0-2515B0944470}"/>
              </a:ext>
            </a:extLst>
          </p:cNvPr>
          <p:cNvSpPr txBox="1">
            <a:spLocks/>
          </p:cNvSpPr>
          <p:nvPr/>
        </p:nvSpPr>
        <p:spPr>
          <a:xfrm>
            <a:off x="515937" y="2241451"/>
            <a:ext cx="5580063" cy="3779837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>
            <a:lvl1pPr marL="0" indent="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None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252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2pPr>
            <a:lvl3pPr marL="360000" indent="-10795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3pPr>
            <a:lvl4pPr marL="468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4pPr>
            <a:lvl5pPr marL="576000" indent="-108000" algn="l" defTabSz="914400" rtl="0" eaLnBrk="1" latinLnBrk="0" hangingPunct="1">
              <a:lnSpc>
                <a:spcPct val="100000"/>
              </a:lnSpc>
              <a:spcBef>
                <a:spcPts val="0"/>
              </a:spcBef>
              <a:buFont typeface="Arial" panose="020B0604020202020204" pitchFamily="34" charset="0"/>
              <a:buChar char="•"/>
              <a:defRPr sz="1000" kern="120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285750" indent="-285750">
              <a:buFont typeface="Arial" panose="020B0604020202020204" pitchFamily="34" charset="0"/>
              <a:buChar char="•"/>
            </a:pPr>
            <a:endParaRPr lang="da-DK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800" dirty="0"/>
              <a:t>Datacenter-campus skal etableres i nærheden af Overgaard energipark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800" dirty="0"/>
              <a:t>Datacenter-campus består af en eller flere modulære datacentre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800" dirty="0"/>
              <a:t>Modulerne vil bestå af skalabygninger med færdiglavede slots til at installere serverstativer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800" dirty="0"/>
              <a:t>Et integreret kølesystem vil blive brugt til ekstern opvarmning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8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800" dirty="0"/>
          </a:p>
          <a:p>
            <a:endParaRPr lang="da-DK" sz="1800" dirty="0"/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0A3E6384-6A5F-EC5E-03A8-F9B9B26CB2C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6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20536" y="188640"/>
            <a:ext cx="971548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62528049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9" presetClass="entr" presetSubtype="0" repeatCount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7" dur="10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8" fill="hold">
                            <p:stCondLst>
                              <p:cond delay="2000"/>
                            </p:stCondLst>
                            <p:childTnLst>
                              <p:par>
                                <p:cTn id="9" presetID="9" presetClass="entr" presetSubtype="0" repeatCount="0" fill="hold" nodeType="after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1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2" fill="hold">
                            <p:stCondLst>
                              <p:cond delay="4000"/>
                            </p:stCondLst>
                            <p:childTnLst>
                              <p:par>
                                <p:cTn id="13" presetID="9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5" dur="10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6" fill="hold">
                            <p:stCondLst>
                              <p:cond delay="7000"/>
                            </p:stCondLst>
                            <p:childTnLst>
                              <p:par>
                                <p:cTn id="17" presetID="9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19" dur="10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0" fill="hold">
                            <p:stCondLst>
                              <p:cond delay="10000"/>
                            </p:stCondLst>
                            <p:childTnLst>
                              <p:par>
                                <p:cTn id="21" presetID="9" presetClass="entr" presetSubtype="0" fill="hold" nodeType="afterEffect">
                                  <p:stCondLst>
                                    <p:cond delay="200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dissolve">
                                      <p:cBhvr>
                                        <p:cTn id="23" dur="1000"/>
                                        <p:tgtEl>
                                          <p:spTgt spid="1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lede 4">
            <a:extLst>
              <a:ext uri="{FF2B5EF4-FFF2-40B4-BE49-F238E27FC236}">
                <a16:creationId xmlns:a16="http://schemas.microsoft.com/office/drawing/2014/main" id="{8C8C2E15-DF27-1448-19CC-E8FD172C402C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alphaModFix amt="95000"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Titel 3">
            <a:extLst>
              <a:ext uri="{FF2B5EF4-FFF2-40B4-BE49-F238E27FC236}">
                <a16:creationId xmlns:a16="http://schemas.microsoft.com/office/drawing/2014/main" id="{BFA78BC2-3D17-755F-13F8-760C578BDF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5142" y="622225"/>
            <a:ext cx="6732190" cy="745868"/>
          </a:xfrm>
        </p:spPr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4800" b="1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  <a:sym typeface="Wingdings" panose="05000000000000000000" pitchFamily="2" charset="2"/>
              </a:rPr>
              <a:t>VE-lovens ordninger</a:t>
            </a:r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515B295F-5887-D992-4D92-CD8CE51A5787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515938" y="6345708"/>
            <a:ext cx="1521070" cy="188332"/>
          </a:xfrm>
          <a:prstGeom prst="rect">
            <a:avLst/>
          </a:prstGeom>
        </p:spPr>
      </p:pic>
      <p:grpSp>
        <p:nvGrpSpPr>
          <p:cNvPr id="3" name="Gruppe 20">
            <a:extLst>
              <a:ext uri="{FF2B5EF4-FFF2-40B4-BE49-F238E27FC236}">
                <a16:creationId xmlns:a16="http://schemas.microsoft.com/office/drawing/2014/main" id="{60E7B517-E66A-9E56-885B-0532547C4733}"/>
              </a:ext>
            </a:extLst>
          </p:cNvPr>
          <p:cNvGrpSpPr/>
          <p:nvPr/>
        </p:nvGrpSpPr>
        <p:grpSpPr>
          <a:xfrm>
            <a:off x="411296" y="1871050"/>
            <a:ext cx="5755443" cy="1429940"/>
            <a:chOff x="3913733" y="1603812"/>
            <a:chExt cx="5925011" cy="1429940"/>
          </a:xfrm>
        </p:grpSpPr>
        <p:grpSp>
          <p:nvGrpSpPr>
            <p:cNvPr id="6" name="Gruppe 16">
              <a:extLst>
                <a:ext uri="{FF2B5EF4-FFF2-40B4-BE49-F238E27FC236}">
                  <a16:creationId xmlns:a16="http://schemas.microsoft.com/office/drawing/2014/main" id="{E14BB7B0-13AD-2B1B-123D-F3788E145A55}"/>
                </a:ext>
              </a:extLst>
            </p:cNvPr>
            <p:cNvGrpSpPr/>
            <p:nvPr/>
          </p:nvGrpSpPr>
          <p:grpSpPr>
            <a:xfrm>
              <a:off x="3913733" y="1713501"/>
              <a:ext cx="755718" cy="745868"/>
              <a:chOff x="3346461" y="1688634"/>
              <a:chExt cx="755718" cy="745868"/>
            </a:xfrm>
          </p:grpSpPr>
          <p:pic>
            <p:nvPicPr>
              <p:cNvPr id="12" name="Graphic 5" descr="Forstadsscene med massiv udfyldning">
                <a:extLst>
                  <a:ext uri="{FF2B5EF4-FFF2-40B4-BE49-F238E27FC236}">
                    <a16:creationId xmlns:a16="http://schemas.microsoft.com/office/drawing/2014/main" id="{8C14EF44-ECE6-7E30-6A73-605336265719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6"/>
                  </a:ext>
                </a:extLst>
              </a:blip>
              <a:srcRect/>
              <a:stretch/>
            </p:blipFill>
            <p:spPr>
              <a:xfrm>
                <a:off x="3498351" y="1816452"/>
                <a:ext cx="455873" cy="442826"/>
              </a:xfrm>
              <a:prstGeom prst="rect">
                <a:avLst/>
              </a:prstGeom>
            </p:spPr>
          </p:pic>
          <p:sp>
            <p:nvSpPr>
              <p:cNvPr id="13" name="Ellipse 14">
                <a:extLst>
                  <a:ext uri="{FF2B5EF4-FFF2-40B4-BE49-F238E27FC236}">
                    <a16:creationId xmlns:a16="http://schemas.microsoft.com/office/drawing/2014/main" id="{F806CD4B-2B4E-0CDB-6811-6416563EECBB}"/>
                  </a:ext>
                </a:extLst>
              </p:cNvPr>
              <p:cNvSpPr/>
              <p:nvPr/>
            </p:nvSpPr>
            <p:spPr>
              <a:xfrm>
                <a:off x="3346461" y="1688634"/>
                <a:ext cx="755718" cy="745868"/>
              </a:xfrm>
              <a:prstGeom prst="ellipse">
                <a:avLst/>
              </a:prstGeom>
              <a:noFill/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7" name="TextBox 46">
              <a:extLst>
                <a:ext uri="{FF2B5EF4-FFF2-40B4-BE49-F238E27FC236}">
                  <a16:creationId xmlns:a16="http://schemas.microsoft.com/office/drawing/2014/main" id="{46D2DEAD-1288-79AF-1919-9916D200D75A}"/>
                </a:ext>
              </a:extLst>
            </p:cNvPr>
            <p:cNvSpPr txBox="1"/>
            <p:nvPr/>
          </p:nvSpPr>
          <p:spPr>
            <a:xfrm>
              <a:off x="4834169" y="1603812"/>
              <a:ext cx="3365514" cy="584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  <a:sym typeface="Wingdings" panose="05000000000000000000" pitchFamily="2" charset="2"/>
                </a:rPr>
                <a:t>Salgsoption og Værditabserstatning</a:t>
              </a:r>
            </a:p>
          </p:txBody>
        </p:sp>
        <p:sp>
          <p:nvSpPr>
            <p:cNvPr id="9" name="Tekstfelt 18">
              <a:extLst>
                <a:ext uri="{FF2B5EF4-FFF2-40B4-BE49-F238E27FC236}">
                  <a16:creationId xmlns:a16="http://schemas.microsoft.com/office/drawing/2014/main" id="{3CAFFF05-4F99-3F61-21CC-32A751B46171}"/>
                </a:ext>
              </a:extLst>
            </p:cNvPr>
            <p:cNvSpPr txBox="1"/>
            <p:nvPr/>
          </p:nvSpPr>
          <p:spPr>
            <a:xfrm>
              <a:off x="4906985" y="2202755"/>
              <a:ext cx="4931759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a-DK" sz="1600">
                  <a:solidFill>
                    <a:prstClr val="white"/>
                  </a:solidFill>
                  <a:latin typeface="Century Gothic" panose="020F0302020204030204"/>
                  <a:sym typeface="Wingdings" panose="05000000000000000000" pitchFamily="2" charset="2"/>
                </a:rPr>
                <a:t>Salgsoption kan benyttes af alle naboer inden for 1080 meter fra vindmøllerne.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  <a:sym typeface="Wingdings" panose="05000000000000000000" pitchFamily="2" charset="2"/>
                </a:rPr>
                <a:t>Alle kan søge værditab.</a:t>
              </a:r>
            </a:p>
          </p:txBody>
        </p:sp>
        <p:cxnSp>
          <p:nvCxnSpPr>
            <p:cNvPr id="11" name="Lige forbindelse 19">
              <a:extLst>
                <a:ext uri="{FF2B5EF4-FFF2-40B4-BE49-F238E27FC236}">
                  <a16:creationId xmlns:a16="http://schemas.microsoft.com/office/drawing/2014/main" id="{2002ACAF-64EA-D0F6-4A77-FAEFA1539258}"/>
                </a:ext>
              </a:extLst>
            </p:cNvPr>
            <p:cNvCxnSpPr>
              <a:cxnSpLocks/>
            </p:cNvCxnSpPr>
            <p:nvPr/>
          </p:nvCxnSpPr>
          <p:spPr>
            <a:xfrm>
              <a:off x="4919176" y="2167819"/>
              <a:ext cx="3256337" cy="0"/>
            </a:xfrm>
            <a:prstGeom prst="line">
              <a:avLst/>
            </a:prstGeom>
            <a:ln w="19050" cmpd="sng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15" name="Gruppe 20">
            <a:extLst>
              <a:ext uri="{FF2B5EF4-FFF2-40B4-BE49-F238E27FC236}">
                <a16:creationId xmlns:a16="http://schemas.microsoft.com/office/drawing/2014/main" id="{976ADD1E-3232-86E0-AE1D-D380A811E2E4}"/>
              </a:ext>
            </a:extLst>
          </p:cNvPr>
          <p:cNvGrpSpPr/>
          <p:nvPr/>
        </p:nvGrpSpPr>
        <p:grpSpPr>
          <a:xfrm>
            <a:off x="6561992" y="1871050"/>
            <a:ext cx="5071175" cy="1300592"/>
            <a:chOff x="3922538" y="1705358"/>
            <a:chExt cx="5220584" cy="1300592"/>
          </a:xfrm>
        </p:grpSpPr>
        <p:grpSp>
          <p:nvGrpSpPr>
            <p:cNvPr id="16" name="Gruppe 16">
              <a:extLst>
                <a:ext uri="{FF2B5EF4-FFF2-40B4-BE49-F238E27FC236}">
                  <a16:creationId xmlns:a16="http://schemas.microsoft.com/office/drawing/2014/main" id="{C6ECF2D8-20D1-EE0D-0106-8F943F9B3BC2}"/>
                </a:ext>
              </a:extLst>
            </p:cNvPr>
            <p:cNvGrpSpPr/>
            <p:nvPr/>
          </p:nvGrpSpPr>
          <p:grpSpPr>
            <a:xfrm>
              <a:off x="3922538" y="1705358"/>
              <a:ext cx="755719" cy="745868"/>
              <a:chOff x="3355266" y="1680491"/>
              <a:chExt cx="755719" cy="745868"/>
            </a:xfrm>
          </p:grpSpPr>
          <p:grpSp>
            <p:nvGrpSpPr>
              <p:cNvPr id="20" name="Group 20">
                <a:extLst>
                  <a:ext uri="{FF2B5EF4-FFF2-40B4-BE49-F238E27FC236}">
                    <a16:creationId xmlns:a16="http://schemas.microsoft.com/office/drawing/2014/main" id="{E0E4CFAE-D3C2-0E2E-FFA6-138A4DB7106D}"/>
                  </a:ext>
                </a:extLst>
              </p:cNvPr>
              <p:cNvGrpSpPr/>
              <p:nvPr/>
            </p:nvGrpSpPr>
            <p:grpSpPr>
              <a:xfrm>
                <a:off x="3523665" y="1810239"/>
                <a:ext cx="455874" cy="467658"/>
                <a:chOff x="4155926" y="2404736"/>
                <a:chExt cx="731268" cy="731268"/>
              </a:xfrm>
            </p:grpSpPr>
            <p:pic>
              <p:nvPicPr>
                <p:cNvPr id="22" name="Graphic 5" descr="Piggy Bank with solid fill">
                  <a:extLst>
                    <a:ext uri="{FF2B5EF4-FFF2-40B4-BE49-F238E27FC236}">
                      <a16:creationId xmlns:a16="http://schemas.microsoft.com/office/drawing/2014/main" id="{4F93A7A3-D905-7D2F-81E8-500599E056F5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7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8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155926" y="2404736"/>
                  <a:ext cx="731268" cy="731268"/>
                </a:xfrm>
                <a:prstGeom prst="rect">
                  <a:avLst/>
                </a:prstGeom>
              </p:spPr>
            </p:pic>
            <p:pic>
              <p:nvPicPr>
                <p:cNvPr id="23" name="Graphic 11" descr="Dollar with solid fill">
                  <a:extLst>
                    <a:ext uri="{FF2B5EF4-FFF2-40B4-BE49-F238E27FC236}">
                      <a16:creationId xmlns:a16="http://schemas.microsoft.com/office/drawing/2014/main" id="{3001077E-73FE-C3A2-9839-7F60BC0C8BB6}"/>
                    </a:ext>
                  </a:extLst>
                </p:cNvPr>
                <p:cNvPicPr>
                  <a:picLocks noChangeAspect="1"/>
                </p:cNvPicPr>
                <p:nvPr/>
              </p:nvPicPr>
              <p:blipFill>
                <a:blip r:embed="rId9">
                  <a:extLst>
                    <a:ext uri="{28A0092B-C50C-407E-A947-70E740481C1C}">
                      <a14:useLocalDpi xmlns:a14="http://schemas.microsoft.com/office/drawing/2010/main" val="0"/>
                    </a:ext>
                    <a:ext uri="{96DAC541-7B7A-43D3-8B79-37D633B846F1}">
                      <asvg:svgBlip xmlns:asvg="http://schemas.microsoft.com/office/drawing/2016/SVG/main" r:embed="rId10"/>
                    </a:ext>
                  </a:extLst>
                </a:blip>
                <a:stretch>
                  <a:fillRect/>
                </a:stretch>
              </p:blipFill>
              <p:spPr>
                <a:xfrm>
                  <a:off x="4341931" y="2645006"/>
                  <a:ext cx="279985" cy="279986"/>
                </a:xfrm>
                <a:prstGeom prst="rect">
                  <a:avLst/>
                </a:prstGeom>
              </p:spPr>
            </p:pic>
          </p:grpSp>
          <p:sp>
            <p:nvSpPr>
              <p:cNvPr id="21" name="Ellipse 14">
                <a:extLst>
                  <a:ext uri="{FF2B5EF4-FFF2-40B4-BE49-F238E27FC236}">
                    <a16:creationId xmlns:a16="http://schemas.microsoft.com/office/drawing/2014/main" id="{5DEB8961-1CB5-A3D9-0C5A-157E2E6E5031}"/>
                  </a:ext>
                </a:extLst>
              </p:cNvPr>
              <p:cNvSpPr/>
              <p:nvPr/>
            </p:nvSpPr>
            <p:spPr>
              <a:xfrm>
                <a:off x="3355266" y="1680491"/>
                <a:ext cx="755719" cy="745868"/>
              </a:xfrm>
              <a:prstGeom prst="ellipse">
                <a:avLst/>
              </a:prstGeom>
              <a:noFill/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17" name="TextBox 46">
              <a:extLst>
                <a:ext uri="{FF2B5EF4-FFF2-40B4-BE49-F238E27FC236}">
                  <a16:creationId xmlns:a16="http://schemas.microsoft.com/office/drawing/2014/main" id="{A6051E9D-E356-0192-3748-CF625511C6D8}"/>
                </a:ext>
              </a:extLst>
            </p:cNvPr>
            <p:cNvSpPr txBox="1"/>
            <p:nvPr/>
          </p:nvSpPr>
          <p:spPr>
            <a:xfrm>
              <a:off x="4831110" y="1823931"/>
              <a:ext cx="3849112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  <a:sym typeface="Wingdings" panose="05000000000000000000" pitchFamily="2" charset="2"/>
                </a:rPr>
                <a:t>VE-bonus</a:t>
              </a:r>
            </a:p>
          </p:txBody>
        </p:sp>
        <p:sp>
          <p:nvSpPr>
            <p:cNvPr id="18" name="Tekstfelt 18">
              <a:extLst>
                <a:ext uri="{FF2B5EF4-FFF2-40B4-BE49-F238E27FC236}">
                  <a16:creationId xmlns:a16="http://schemas.microsoft.com/office/drawing/2014/main" id="{D11553FA-E069-59A6-A54C-503B4716CB59}"/>
                </a:ext>
              </a:extLst>
            </p:cNvPr>
            <p:cNvSpPr txBox="1"/>
            <p:nvPr/>
          </p:nvSpPr>
          <p:spPr>
            <a:xfrm>
              <a:off x="4834168" y="2174953"/>
              <a:ext cx="4308954" cy="83099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  <a:sym typeface="Wingdings" panose="05000000000000000000" pitchFamily="2" charset="2"/>
                </a:rPr>
                <a:t>Udbetales til beboere af beboelsesejendomme i en afstand af 1440 meter fra vindmøllerne.</a:t>
              </a:r>
            </a:p>
          </p:txBody>
        </p:sp>
        <p:cxnSp>
          <p:nvCxnSpPr>
            <p:cNvPr id="19" name="Lige forbindelse 19">
              <a:extLst>
                <a:ext uri="{FF2B5EF4-FFF2-40B4-BE49-F238E27FC236}">
                  <a16:creationId xmlns:a16="http://schemas.microsoft.com/office/drawing/2014/main" id="{D498509D-D2A1-8B30-18ED-C755CC079556}"/>
                </a:ext>
              </a:extLst>
            </p:cNvPr>
            <p:cNvCxnSpPr>
              <a:cxnSpLocks/>
            </p:cNvCxnSpPr>
            <p:nvPr/>
          </p:nvCxnSpPr>
          <p:spPr>
            <a:xfrm>
              <a:off x="4919176" y="2167819"/>
              <a:ext cx="3046166" cy="0"/>
            </a:xfrm>
            <a:prstGeom prst="line">
              <a:avLst/>
            </a:prstGeom>
            <a:ln w="19050" cmpd="sng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24" name="Gruppe 20">
            <a:extLst>
              <a:ext uri="{FF2B5EF4-FFF2-40B4-BE49-F238E27FC236}">
                <a16:creationId xmlns:a16="http://schemas.microsoft.com/office/drawing/2014/main" id="{9CBEEA51-D5FC-EB52-9490-BC889BE17B3E}"/>
              </a:ext>
            </a:extLst>
          </p:cNvPr>
          <p:cNvGrpSpPr/>
          <p:nvPr/>
        </p:nvGrpSpPr>
        <p:grpSpPr>
          <a:xfrm>
            <a:off x="411296" y="3514508"/>
            <a:ext cx="5684709" cy="1698068"/>
            <a:chOff x="3922687" y="1603812"/>
            <a:chExt cx="5852194" cy="1698068"/>
          </a:xfrm>
        </p:grpSpPr>
        <p:grpSp>
          <p:nvGrpSpPr>
            <p:cNvPr id="25" name="Gruppe 16">
              <a:extLst>
                <a:ext uri="{FF2B5EF4-FFF2-40B4-BE49-F238E27FC236}">
                  <a16:creationId xmlns:a16="http://schemas.microsoft.com/office/drawing/2014/main" id="{3888FF21-A946-6249-C948-EB3C80A49F89}"/>
                </a:ext>
              </a:extLst>
            </p:cNvPr>
            <p:cNvGrpSpPr/>
            <p:nvPr/>
          </p:nvGrpSpPr>
          <p:grpSpPr>
            <a:xfrm>
              <a:off x="3922687" y="1723479"/>
              <a:ext cx="755719" cy="745868"/>
              <a:chOff x="3355415" y="1698612"/>
              <a:chExt cx="755719" cy="745868"/>
            </a:xfrm>
          </p:grpSpPr>
          <p:pic>
            <p:nvPicPr>
              <p:cNvPr id="29" name="Graphic 5" descr="Bank med massiv udfyldning">
                <a:extLst>
                  <a:ext uri="{FF2B5EF4-FFF2-40B4-BE49-F238E27FC236}">
                    <a16:creationId xmlns:a16="http://schemas.microsoft.com/office/drawing/2014/main" id="{1C5CADFE-2278-8313-EBFD-B917D0A8F91D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11">
                <a:extLst>
                  <a:ext uri="{28A0092B-C50C-407E-A947-70E740481C1C}">
                    <a14:useLocalDpi xmlns:a14="http://schemas.microsoft.com/office/drawing/2010/main" val="0"/>
                  </a:ext>
                  <a:ext uri="{96DAC541-7B7A-43D3-8B79-37D633B846F1}">
                    <asvg:svgBlip xmlns:asvg="http://schemas.microsoft.com/office/drawing/2016/SVG/main" r:embed="rId12"/>
                  </a:ext>
                </a:extLst>
              </a:blip>
              <a:srcRect/>
              <a:stretch/>
            </p:blipFill>
            <p:spPr>
              <a:xfrm>
                <a:off x="3505205" y="1828855"/>
                <a:ext cx="455873" cy="442826"/>
              </a:xfrm>
              <a:prstGeom prst="rect">
                <a:avLst/>
              </a:prstGeom>
            </p:spPr>
          </p:pic>
          <p:sp>
            <p:nvSpPr>
              <p:cNvPr id="30" name="Ellipse 14">
                <a:extLst>
                  <a:ext uri="{FF2B5EF4-FFF2-40B4-BE49-F238E27FC236}">
                    <a16:creationId xmlns:a16="http://schemas.microsoft.com/office/drawing/2014/main" id="{F8676E36-5675-CD48-CABB-34F98B52DE03}"/>
                  </a:ext>
                </a:extLst>
              </p:cNvPr>
              <p:cNvSpPr/>
              <p:nvPr/>
            </p:nvSpPr>
            <p:spPr>
              <a:xfrm>
                <a:off x="3355415" y="1698612"/>
                <a:ext cx="755719" cy="745868"/>
              </a:xfrm>
              <a:prstGeom prst="ellipse">
                <a:avLst/>
              </a:prstGeom>
              <a:noFill/>
              <a:ln w="38100">
                <a:solidFill>
                  <a:schemeClr val="bg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da-DK" sz="10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</a:endParaRPr>
              </a:p>
            </p:txBody>
          </p:sp>
        </p:grpSp>
        <p:sp>
          <p:nvSpPr>
            <p:cNvPr id="26" name="TextBox 46">
              <a:extLst>
                <a:ext uri="{FF2B5EF4-FFF2-40B4-BE49-F238E27FC236}">
                  <a16:creationId xmlns:a16="http://schemas.microsoft.com/office/drawing/2014/main" id="{2B2F9A88-2F99-E0B7-8217-E452417E5B48}"/>
                </a:ext>
              </a:extLst>
            </p:cNvPr>
            <p:cNvSpPr txBox="1"/>
            <p:nvPr/>
          </p:nvSpPr>
          <p:spPr>
            <a:xfrm>
              <a:off x="4834168" y="1603812"/>
              <a:ext cx="3849110" cy="338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da-DK" sz="16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  <a:sym typeface="Wingdings" panose="05000000000000000000" pitchFamily="2" charset="2"/>
                </a:rPr>
                <a:t>Grøn Pulje</a:t>
              </a:r>
            </a:p>
          </p:txBody>
        </p:sp>
        <p:sp>
          <p:nvSpPr>
            <p:cNvPr id="27" name="Tekstfelt 18">
              <a:extLst>
                <a:ext uri="{FF2B5EF4-FFF2-40B4-BE49-F238E27FC236}">
                  <a16:creationId xmlns:a16="http://schemas.microsoft.com/office/drawing/2014/main" id="{F952D748-FB20-4590-1012-D8A5CAB5562D}"/>
                </a:ext>
              </a:extLst>
            </p:cNvPr>
            <p:cNvSpPr txBox="1"/>
            <p:nvPr/>
          </p:nvSpPr>
          <p:spPr>
            <a:xfrm>
              <a:off x="4834169" y="1978441"/>
              <a:ext cx="4940712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lang="da-DK" sz="1600" dirty="0">
                  <a:solidFill>
                    <a:prstClr val="white"/>
                  </a:solidFill>
                  <a:latin typeface="Century Gothic" panose="020F0302020204030204"/>
                  <a:sym typeface="Wingdings" panose="05000000000000000000" pitchFamily="2" charset="2"/>
                </a:rPr>
                <a:t>Udvikler indbetaler et beløb på</a:t>
              </a:r>
              <a:r>
                <a:rPr kumimoji="0" lang="da-DK" sz="16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Century Gothic" panose="020F0302020204030204"/>
                  <a:ea typeface="+mn-ea"/>
                  <a:cs typeface="+mn-cs"/>
                  <a:sym typeface="Wingdings" panose="05000000000000000000" pitchFamily="2" charset="2"/>
                </a:rPr>
                <a:t> 313.000 kr./MW vind og 125.000 kr./MW Sol</a:t>
              </a: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lang="da-DK" sz="1600" dirty="0">
                <a:solidFill>
                  <a:prstClr val="white"/>
                </a:solidFill>
                <a:latin typeface="Century Gothic" panose="020F0302020204030204"/>
                <a:sym typeface="Wingdings" panose="05000000000000000000" pitchFamily="2" charset="2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  <a:sym typeface="Wingdings" panose="05000000000000000000" pitchFamily="2" charset="2"/>
              </a:endParaRPr>
            </a:p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da-DK" sz="16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  <a:sym typeface="Wingdings" panose="05000000000000000000" pitchFamily="2" charset="2"/>
              </a:endParaRPr>
            </a:p>
          </p:txBody>
        </p:sp>
        <p:cxnSp>
          <p:nvCxnSpPr>
            <p:cNvPr id="28" name="Lige forbindelse 19">
              <a:extLst>
                <a:ext uri="{FF2B5EF4-FFF2-40B4-BE49-F238E27FC236}">
                  <a16:creationId xmlns:a16="http://schemas.microsoft.com/office/drawing/2014/main" id="{FC966F90-840F-6CFE-C9CA-8857D8A1EBD4}"/>
                </a:ext>
              </a:extLst>
            </p:cNvPr>
            <p:cNvCxnSpPr>
              <a:cxnSpLocks/>
            </p:cNvCxnSpPr>
            <p:nvPr/>
          </p:nvCxnSpPr>
          <p:spPr>
            <a:xfrm>
              <a:off x="4919176" y="1942366"/>
              <a:ext cx="3625299" cy="0"/>
            </a:xfrm>
            <a:prstGeom prst="line">
              <a:avLst/>
            </a:prstGeom>
            <a:ln w="19050" cmpd="sng">
              <a:solidFill>
                <a:schemeClr val="bg1"/>
              </a:solidFill>
              <a:prstDash val="sysDot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aphicFrame>
        <p:nvGraphicFramePr>
          <p:cNvPr id="10" name="Tabel 9">
            <a:extLst>
              <a:ext uri="{FF2B5EF4-FFF2-40B4-BE49-F238E27FC236}">
                <a16:creationId xmlns:a16="http://schemas.microsoft.com/office/drawing/2014/main" id="{F34F7DBA-B2C7-C39C-F6A9-1FEFE408DE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027299053"/>
              </p:ext>
            </p:extLst>
          </p:nvPr>
        </p:nvGraphicFramePr>
        <p:xfrm>
          <a:off x="6660635" y="3638020"/>
          <a:ext cx="4966734" cy="22250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47483">
                  <a:extLst>
                    <a:ext uri="{9D8B030D-6E8A-4147-A177-3AD203B41FA5}">
                      <a16:colId xmlns:a16="http://schemas.microsoft.com/office/drawing/2014/main" val="866597834"/>
                    </a:ext>
                  </a:extLst>
                </a:gridCol>
                <a:gridCol w="1619251">
                  <a:extLst>
                    <a:ext uri="{9D8B030D-6E8A-4147-A177-3AD203B41FA5}">
                      <a16:colId xmlns:a16="http://schemas.microsoft.com/office/drawing/2014/main" val="24734306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Grøn pulje - ansøgt projekt</a:t>
                      </a:r>
                      <a:endParaRPr lang="en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Kr. </a:t>
                      </a:r>
                      <a:endParaRPr lang="en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7636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27 MW vindmøller</a:t>
                      </a:r>
                      <a:endParaRPr lang="en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8.400.000</a:t>
                      </a:r>
                      <a:endParaRPr lang="en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54900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450 MW solceller</a:t>
                      </a:r>
                      <a:endParaRPr lang="en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56.250.000</a:t>
                      </a:r>
                      <a:endParaRPr lang="en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39046760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8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Grøn pulje - nyt projekt</a:t>
                      </a:r>
                      <a:endParaRPr kumimoji="0" lang="en-DK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74406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115,2 MW vindmøller</a:t>
                      </a:r>
                      <a:endParaRPr lang="en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36.057.000</a:t>
                      </a:r>
                      <a:endParaRPr lang="en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284493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r>
                        <a:rPr lang="da-DK" dirty="0"/>
                        <a:t>450 MW solceller</a:t>
                      </a:r>
                      <a:endParaRPr lang="en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dirty="0"/>
                        <a:t>56.250.000</a:t>
                      </a:r>
                      <a:endParaRPr lang="en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73580347"/>
                  </a:ext>
                </a:extLst>
              </a:tr>
            </a:tbl>
          </a:graphicData>
        </a:graphic>
      </p:graphicFrame>
      <p:pic>
        <p:nvPicPr>
          <p:cNvPr id="2" name="Picture 2">
            <a:extLst>
              <a:ext uri="{FF2B5EF4-FFF2-40B4-BE49-F238E27FC236}">
                <a16:creationId xmlns:a16="http://schemas.microsoft.com/office/drawing/2014/main" id="{3C9C1B6E-23AD-260F-EBB5-A8999A935FC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20536" y="188640"/>
            <a:ext cx="971548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2829591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ladsholder til billede 14" descr="Et billede, der indeholder tekst, drage, flyver, himmel&#10;&#10;Automatisk genereret beskrivelse">
            <a:extLst>
              <a:ext uri="{FF2B5EF4-FFF2-40B4-BE49-F238E27FC236}">
                <a16:creationId xmlns:a16="http://schemas.microsoft.com/office/drawing/2014/main" id="{E1663682-562E-0FEB-2F9E-C34130426C7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</p:spPr>
      </p:pic>
      <p:sp>
        <p:nvSpPr>
          <p:cNvPr id="5" name="Titel 4">
            <a:extLst>
              <a:ext uri="{FF2B5EF4-FFF2-40B4-BE49-F238E27FC236}">
                <a16:creationId xmlns:a16="http://schemas.microsoft.com/office/drawing/2014/main" id="{A0D8C471-1418-8162-2205-0A24FE5FA8E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170" y="953989"/>
            <a:ext cx="5079071" cy="1439813"/>
          </a:xfrm>
        </p:spPr>
        <p:txBody>
          <a:bodyPr/>
          <a:lstStyle/>
          <a:p>
            <a:r>
              <a:rPr lang="da-DK"/>
              <a:t>Årlig udbetaling til lokalområdet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0D493EFF-F607-C878-FF37-2CAD7887E6C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40170" y="3280094"/>
            <a:ext cx="5241395" cy="2684477"/>
          </a:xfrm>
        </p:spPr>
        <p:txBody>
          <a:bodyPr>
            <a:normAutofit lnSpcReduction="10000"/>
          </a:bodyPr>
          <a:lstStyle/>
          <a:p>
            <a:r>
              <a:rPr lang="da-DK" sz="1800" b="1" dirty="0"/>
              <a:t>I samarbejde med lokale ildsjæle stiftes en forening</a:t>
            </a:r>
            <a:br>
              <a:rPr lang="da-DK" sz="1800" dirty="0"/>
            </a:br>
            <a:endParaRPr lang="da-DK" sz="1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800" b="0" dirty="0"/>
              <a:t>Foreningen vil have til hovedformål at formidle og uddele midler, som årligt tilføres fra projektet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800" b="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800" b="0" dirty="0"/>
              <a:t>Samt arbejde for at midler fra den grønne pulje kommer lokalsamfundet, i umiddelbar nærhed af projektområdet, til gavn</a:t>
            </a:r>
          </a:p>
          <a:p>
            <a:endParaRPr lang="da-DK" sz="1800" b="0" dirty="0"/>
          </a:p>
        </p:txBody>
      </p:sp>
      <p:pic>
        <p:nvPicPr>
          <p:cNvPr id="7" name="Picture 2">
            <a:extLst>
              <a:ext uri="{FF2B5EF4-FFF2-40B4-BE49-F238E27FC236}">
                <a16:creationId xmlns:a16="http://schemas.microsoft.com/office/drawing/2014/main" id="{7C7D39DC-B309-184D-53CD-54DAFD1814E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20536" y="188640"/>
            <a:ext cx="971548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4" name="Tabel 3">
            <a:extLst>
              <a:ext uri="{FF2B5EF4-FFF2-40B4-BE49-F238E27FC236}">
                <a16:creationId xmlns:a16="http://schemas.microsoft.com/office/drawing/2014/main" id="{FC8F594B-4990-0CD9-5303-721F5EEA0A3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29428887"/>
              </p:ext>
            </p:extLst>
          </p:nvPr>
        </p:nvGraphicFramePr>
        <p:xfrm>
          <a:off x="6450676" y="3854151"/>
          <a:ext cx="5441408" cy="249428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67404">
                  <a:extLst>
                    <a:ext uri="{9D8B030D-6E8A-4147-A177-3AD203B41FA5}">
                      <a16:colId xmlns:a16="http://schemas.microsoft.com/office/drawing/2014/main" val="866597834"/>
                    </a:ext>
                  </a:extLst>
                </a:gridCol>
                <a:gridCol w="1774004">
                  <a:extLst>
                    <a:ext uri="{9D8B030D-6E8A-4147-A177-3AD203B41FA5}">
                      <a16:colId xmlns:a16="http://schemas.microsoft.com/office/drawing/2014/main" val="2473430647"/>
                    </a:ext>
                  </a:extLst>
                </a:gridCol>
              </a:tblGrid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dirty="0"/>
                        <a:t>Lokal forenings pulje</a:t>
                      </a:r>
                    </a:p>
                    <a:p>
                      <a:r>
                        <a:rPr lang="da-DK" dirty="0"/>
                        <a:t>- Ansøgt projekt</a:t>
                      </a:r>
                      <a:endParaRPr lang="en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dirty="0"/>
                        <a:t>Årligt udbytte (kr.) </a:t>
                      </a:r>
                      <a:endParaRPr lang="en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276366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da-DK" sz="1800" dirty="0"/>
                        <a:t>Vindmøller 20.000kr/møl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20.000</a:t>
                      </a:r>
                      <a:endParaRPr lang="en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1357385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da-DK" sz="1800" dirty="0"/>
                        <a:t>Solceller </a:t>
                      </a:r>
                      <a:r>
                        <a:rPr lang="da-DK" dirty="0"/>
                        <a:t>(</a:t>
                      </a:r>
                      <a:r>
                        <a:rPr lang="da-DK" sz="1800" dirty="0" err="1"/>
                        <a:t>gns</a:t>
                      </a:r>
                      <a:r>
                        <a:rPr lang="da-DK" sz="1800" dirty="0"/>
                        <a:t>. elpris på 35 øre)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000.000</a:t>
                      </a:r>
                      <a:endParaRPr lang="en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4549002"/>
                  </a:ext>
                </a:extLst>
              </a:tr>
              <a:tr h="37084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800" b="1" i="0" u="none" strike="noStrike" kern="1200" cap="none" spc="0" normalizeH="0" baseline="0" noProof="0">
                          <a:ln>
                            <a:noFill/>
                          </a:ln>
                          <a:solidFill>
                            <a:prstClr val="white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Nyt projekt</a:t>
                      </a:r>
                      <a:endParaRPr kumimoji="0" lang="en-DK" sz="18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prstClr val="white"/>
                        </a:solidFill>
                        <a:effectLst/>
                        <a:uLnTx/>
                        <a:uFillTx/>
                        <a:latin typeface="+mn-lt"/>
                        <a:ea typeface="+mn-ea"/>
                        <a:cs typeface="+mn-cs"/>
                      </a:endParaRPr>
                    </a:p>
                  </a:txBody>
                  <a:tcPr>
                    <a:solidFill>
                      <a:schemeClr val="tx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/>
                      <a:endParaRPr lang="en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67440624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/>
                      <a:r>
                        <a:rPr lang="da-DK" sz="1800" dirty="0"/>
                        <a:t>Vindmøller 30.000kr/møll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480.000</a:t>
                      </a:r>
                      <a:endParaRPr lang="en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35807815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800" dirty="0"/>
                        <a:t>Solceller</a:t>
                      </a:r>
                      <a:r>
                        <a:rPr lang="da-DK" dirty="0"/>
                        <a:t> (</a:t>
                      </a:r>
                      <a:r>
                        <a:rPr lang="da-DK" sz="1800" dirty="0" err="1"/>
                        <a:t>gns</a:t>
                      </a:r>
                      <a:r>
                        <a:rPr lang="da-DK" sz="1800" dirty="0"/>
                        <a:t>. elpris på 35 øre)</a:t>
                      </a:r>
                      <a:endParaRPr lang="da-DK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/>
                      <a:r>
                        <a:rPr lang="da-DK" dirty="0"/>
                        <a:t>1.000.000</a:t>
                      </a:r>
                      <a:endParaRPr lang="en-DK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5528449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5855366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Pladsholder til billede 13">
            <a:extLst>
              <a:ext uri="{FF2B5EF4-FFF2-40B4-BE49-F238E27FC236}">
                <a16:creationId xmlns:a16="http://schemas.microsoft.com/office/drawing/2014/main" id="{C85CCFAC-6B2C-DBE7-585E-27E8FA089BB1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0" y="0"/>
            <a:ext cx="6096000" cy="6858000"/>
          </a:xfrm>
          <a:prstGeom prst="rect">
            <a:avLst/>
          </a:prstGeom>
        </p:spPr>
      </p:pic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52A551D8-42B2-FEA7-8FDA-AF0C1D9B76B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600826" y="2184400"/>
            <a:ext cx="5079069" cy="3821764"/>
          </a:xfrm>
        </p:spPr>
        <p:txBody>
          <a:bodyPr vert="horz" lIns="0" tIns="0" rIns="0" bIns="0" rtlCol="0" anchor="t">
            <a:normAutofit fontScale="92500"/>
          </a:bodyPr>
          <a:lstStyle/>
          <a:p>
            <a:r>
              <a:rPr lang="en-US" sz="1400" dirty="0" err="1"/>
              <a:t>Scenarie</a:t>
            </a:r>
            <a:r>
              <a:rPr lang="en-US" sz="1400" dirty="0"/>
              <a:t> A</a:t>
            </a:r>
          </a:p>
          <a:p>
            <a:br>
              <a:rPr lang="en-US" sz="1400" dirty="0"/>
            </a:br>
            <a:r>
              <a:rPr lang="en-US" sz="1400" b="0" dirty="0" err="1"/>
              <a:t>Fordebat</a:t>
            </a:r>
            <a:r>
              <a:rPr lang="en-US" sz="1400" b="0" dirty="0"/>
              <a:t> </a:t>
            </a:r>
            <a:r>
              <a:rPr lang="en-US" sz="1400" b="0" dirty="0" err="1"/>
              <a:t>af</a:t>
            </a:r>
            <a:r>
              <a:rPr lang="en-US" sz="1400" b="0" dirty="0"/>
              <a:t> sol, </a:t>
            </a:r>
            <a:r>
              <a:rPr lang="en-US" sz="1400" b="0" dirty="0" err="1"/>
              <a:t>vindmøller</a:t>
            </a:r>
            <a:r>
              <a:rPr lang="en-US" sz="1400" b="0" dirty="0"/>
              <a:t> (150m) </a:t>
            </a:r>
            <a:r>
              <a:rPr lang="en-US" sz="1400" b="0" dirty="0" err="1"/>
              <a:t>og</a:t>
            </a:r>
            <a:r>
              <a:rPr lang="en-US" sz="1400" b="0" dirty="0"/>
              <a:t> </a:t>
            </a:r>
            <a:r>
              <a:rPr lang="en-US" sz="1400" b="0" dirty="0" err="1"/>
              <a:t>PtX</a:t>
            </a:r>
            <a:r>
              <a:rPr lang="en-US" sz="1400" b="0" dirty="0"/>
              <a:t> er </a:t>
            </a:r>
            <a:r>
              <a:rPr lang="en-US" sz="1400" b="0" dirty="0" err="1"/>
              <a:t>gennemført</a:t>
            </a:r>
            <a:endParaRPr lang="en-US" b="0" dirty="0"/>
          </a:p>
          <a:p>
            <a:r>
              <a:rPr lang="en-US" sz="1400" b="0" dirty="0" err="1"/>
              <a:t>Naturundersøgelser</a:t>
            </a:r>
            <a:r>
              <a:rPr lang="en-US" sz="1400" b="0" dirty="0"/>
              <a:t> (</a:t>
            </a:r>
            <a:r>
              <a:rPr lang="en-US" sz="1400" b="0" dirty="0" err="1"/>
              <a:t>indsamling</a:t>
            </a:r>
            <a:r>
              <a:rPr lang="en-US" sz="1400" b="0" dirty="0"/>
              <a:t> </a:t>
            </a:r>
            <a:r>
              <a:rPr lang="en-US" sz="1400" b="0" dirty="0" err="1"/>
              <a:t>af</a:t>
            </a:r>
            <a:r>
              <a:rPr lang="en-US" sz="1400" b="0" dirty="0"/>
              <a:t> data). Klar </a:t>
            </a:r>
            <a:r>
              <a:rPr lang="en-US" sz="1400" b="0" dirty="0" err="1"/>
              <a:t>til</a:t>
            </a:r>
            <a:r>
              <a:rPr lang="en-US" sz="1400" b="0" dirty="0"/>
              <a:t> at </a:t>
            </a:r>
            <a:r>
              <a:rPr lang="en-US" sz="1400" b="0" dirty="0" err="1"/>
              <a:t>gå</a:t>
            </a:r>
            <a:r>
              <a:rPr lang="en-US" sz="1400" b="0" dirty="0"/>
              <a:t> </a:t>
            </a:r>
            <a:r>
              <a:rPr lang="en-US" sz="1400" b="0" dirty="0" err="1"/>
              <a:t>videre</a:t>
            </a:r>
            <a:r>
              <a:rPr lang="en-US" sz="1400" b="0" dirty="0"/>
              <a:t>.</a:t>
            </a:r>
          </a:p>
          <a:p>
            <a:endParaRPr lang="en-US" sz="1400" dirty="0"/>
          </a:p>
          <a:p>
            <a:endParaRPr lang="en-US" sz="1400" dirty="0"/>
          </a:p>
          <a:p>
            <a:r>
              <a:rPr lang="en-US" sz="1400" dirty="0" err="1"/>
              <a:t>Scenarie</a:t>
            </a:r>
            <a:r>
              <a:rPr lang="en-US" sz="1400"/>
              <a:t> B</a:t>
            </a:r>
          </a:p>
          <a:p>
            <a:br>
              <a:rPr lang="en-US" sz="1400" dirty="0"/>
            </a:br>
            <a:r>
              <a:rPr lang="da-DK" sz="1400" b="0" dirty="0"/>
              <a:t>Ny </a:t>
            </a:r>
            <a:r>
              <a:rPr lang="da-DK" sz="1400" b="0" dirty="0" err="1"/>
              <a:t>fordebat</a:t>
            </a:r>
            <a:r>
              <a:rPr lang="da-DK" sz="1400" b="0" dirty="0"/>
              <a:t> af sol, vindmøller (180m), batterier og </a:t>
            </a:r>
            <a:r>
              <a:rPr lang="da-DK" sz="1400" b="0" dirty="0" err="1"/>
              <a:t>PtX</a:t>
            </a:r>
            <a:r>
              <a:rPr lang="da-DK" sz="1400" b="0" dirty="0"/>
              <a:t>, herunder datacenter. </a:t>
            </a:r>
            <a:r>
              <a:rPr lang="en-US" sz="1400" b="0" dirty="0"/>
              <a:t>(</a:t>
            </a:r>
            <a:r>
              <a:rPr lang="en-US" sz="1400" b="0" dirty="0" err="1"/>
              <a:t>indsamling</a:t>
            </a:r>
            <a:r>
              <a:rPr lang="en-US" sz="1400" b="0" dirty="0"/>
              <a:t> </a:t>
            </a:r>
            <a:r>
              <a:rPr lang="en-US" sz="1400" b="0" dirty="0" err="1"/>
              <a:t>af</a:t>
            </a:r>
            <a:r>
              <a:rPr lang="en-US" sz="1400" b="0" dirty="0"/>
              <a:t> data). Klar </a:t>
            </a:r>
            <a:r>
              <a:rPr lang="en-US" sz="1400" b="0" dirty="0" err="1"/>
              <a:t>til</a:t>
            </a:r>
            <a:r>
              <a:rPr lang="en-US" sz="1400" b="0" dirty="0"/>
              <a:t> at </a:t>
            </a:r>
            <a:r>
              <a:rPr lang="en-US" sz="1400" b="0" dirty="0" err="1"/>
              <a:t>gå</a:t>
            </a:r>
            <a:r>
              <a:rPr lang="en-US" sz="1400" b="0" dirty="0"/>
              <a:t> </a:t>
            </a:r>
            <a:r>
              <a:rPr lang="en-US" sz="1400" b="0" dirty="0" err="1"/>
              <a:t>videre</a:t>
            </a:r>
            <a:endParaRPr lang="da-DK" sz="1400" b="0" dirty="0"/>
          </a:p>
          <a:p>
            <a:endParaRPr lang="en-US" sz="1400" dirty="0"/>
          </a:p>
          <a:p>
            <a:endParaRPr lang="en-US" sz="1400" dirty="0"/>
          </a:p>
          <a:p>
            <a:endParaRPr lang="en-US" sz="1400" dirty="0"/>
          </a:p>
          <a:p>
            <a:r>
              <a:rPr lang="en-US" sz="1400" dirty="0"/>
              <a:t>Vi </a:t>
            </a:r>
            <a:r>
              <a:rPr lang="en-US" sz="1400" dirty="0" err="1"/>
              <a:t>har</a:t>
            </a:r>
            <a:r>
              <a:rPr lang="en-US" sz="1400" dirty="0"/>
              <a:t> </a:t>
            </a:r>
            <a:r>
              <a:rPr lang="en-US" sz="1400" dirty="0" err="1"/>
              <a:t>brug</a:t>
            </a:r>
            <a:r>
              <a:rPr lang="en-US" sz="1400" dirty="0"/>
              <a:t> for </a:t>
            </a:r>
            <a:r>
              <a:rPr lang="en-US" sz="1400" dirty="0" err="1"/>
              <a:t>en</a:t>
            </a:r>
            <a:r>
              <a:rPr lang="en-US" sz="1400" dirty="0"/>
              <a:t> </a:t>
            </a:r>
            <a:r>
              <a:rPr lang="en-US" sz="1400" dirty="0" err="1"/>
              <a:t>overordnet</a:t>
            </a:r>
            <a:r>
              <a:rPr lang="en-US" sz="1400" dirty="0"/>
              <a:t> </a:t>
            </a:r>
            <a:r>
              <a:rPr lang="en-US" sz="1400" dirty="0" err="1"/>
              <a:t>tilbagemelding</a:t>
            </a:r>
            <a:r>
              <a:rPr lang="en-US" sz="1400" dirty="0"/>
              <a:t> I forhold </a:t>
            </a:r>
            <a:r>
              <a:rPr lang="en-US" sz="1400" dirty="0" err="1"/>
              <a:t>til</a:t>
            </a:r>
            <a:r>
              <a:rPr lang="en-US" sz="1400" dirty="0"/>
              <a:t> </a:t>
            </a:r>
            <a:r>
              <a:rPr lang="en-US" sz="1400" dirty="0" err="1"/>
              <a:t>solceller</a:t>
            </a:r>
            <a:r>
              <a:rPr lang="en-US" sz="1400" dirty="0"/>
              <a:t>, </a:t>
            </a:r>
            <a:r>
              <a:rPr lang="en-US" sz="1400" dirty="0" err="1"/>
              <a:t>vindmøllernes</a:t>
            </a:r>
            <a:r>
              <a:rPr lang="en-US" sz="1400" dirty="0"/>
              <a:t> </a:t>
            </a:r>
            <a:r>
              <a:rPr lang="en-US" sz="1400" dirty="0" err="1"/>
              <a:t>størrelse</a:t>
            </a:r>
            <a:r>
              <a:rPr lang="en-US" sz="1400" dirty="0"/>
              <a:t>, </a:t>
            </a:r>
            <a:r>
              <a:rPr lang="en-US" sz="1400" dirty="0" err="1"/>
              <a:t>batterier</a:t>
            </a:r>
            <a:r>
              <a:rPr lang="en-US" sz="1400" dirty="0"/>
              <a:t>, </a:t>
            </a:r>
            <a:r>
              <a:rPr lang="en-US" sz="1400" dirty="0" err="1"/>
              <a:t>PtX</a:t>
            </a:r>
            <a:r>
              <a:rPr lang="en-US" sz="1400" dirty="0"/>
              <a:t>, Datacenter mv. </a:t>
            </a:r>
            <a:endParaRPr lang="en-US" dirty="0"/>
          </a:p>
          <a:p>
            <a:endParaRPr lang="en-US" sz="1400" dirty="0"/>
          </a:p>
          <a:p>
            <a:r>
              <a:rPr lang="da-DK" sz="1400"/>
              <a:t>Vi har brug for en igangsætning, således vi kan få udarbejdet </a:t>
            </a:r>
            <a:r>
              <a:rPr lang="da-DK" sz="1400" dirty="0"/>
              <a:t>et afgrænsningsnotat, så vi er sikre på at vi undersøger på relevante forhold</a:t>
            </a:r>
            <a:endParaRPr lang="en-US" sz="1400" dirty="0"/>
          </a:p>
          <a:p>
            <a:endParaRPr lang="en-US" sz="1400" dirty="0"/>
          </a:p>
          <a:p>
            <a:pPr marL="285750" indent="-285750">
              <a:buAutoNum type="arabicPeriod"/>
            </a:pPr>
            <a:endParaRPr lang="en-US" sz="1400" dirty="0"/>
          </a:p>
          <a:p>
            <a:pPr marL="285750" indent="-285750">
              <a:buAutoNum type="arabicPeriod"/>
            </a:pPr>
            <a:endParaRPr lang="en-US" sz="1400" dirty="0"/>
          </a:p>
          <a:p>
            <a:endParaRPr lang="en-US" dirty="0"/>
          </a:p>
        </p:txBody>
      </p:sp>
      <p:sp>
        <p:nvSpPr>
          <p:cNvPr id="5" name="Title 4">
            <a:extLst>
              <a:ext uri="{FF2B5EF4-FFF2-40B4-BE49-F238E27FC236}">
                <a16:creationId xmlns:a16="http://schemas.microsoft.com/office/drawing/2014/main" id="{A09EB196-DFAA-355C-6B17-DFA07129E1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00824" y="981075"/>
            <a:ext cx="5079071" cy="438116"/>
          </a:xfrm>
        </p:spPr>
        <p:txBody>
          <a:bodyPr/>
          <a:lstStyle/>
          <a:p>
            <a:r>
              <a:rPr lang="en-US" sz="2800" dirty="0"/>
              <a:t>Ny </a:t>
            </a:r>
            <a:r>
              <a:rPr lang="en-US" sz="2800" dirty="0" err="1"/>
              <a:t>fordebat</a:t>
            </a:r>
            <a:r>
              <a:rPr lang="en-US" sz="2800" dirty="0"/>
              <a:t>?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156C4CC9-C3C3-A54C-9AA7-328CC4701D4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25000" lnSpcReduction="20000"/>
          </a:bodyPr>
          <a:lstStyle/>
          <a:p>
            <a:endParaRPr lang="en-US"/>
          </a:p>
        </p:txBody>
      </p:sp>
      <p:pic>
        <p:nvPicPr>
          <p:cNvPr id="7" name="Content Placeholder 6">
            <a:extLst>
              <a:ext uri="{FF2B5EF4-FFF2-40B4-BE49-F238E27FC236}">
                <a16:creationId xmlns:a16="http://schemas.microsoft.com/office/drawing/2014/main" id="{AA64EDCA-0699-748A-52A5-F563CA5797BA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7359491" y="2985067"/>
            <a:ext cx="1268681" cy="853371"/>
          </a:xfrm>
          <a:prstGeom prst="rect">
            <a:avLst/>
          </a:prstGeom>
        </p:spPr>
      </p:pic>
      <p:pic>
        <p:nvPicPr>
          <p:cNvPr id="16" name="Billede 15" descr="Et billede, der indeholder skærmbillede, symbol&#10;&#10;Automatisk genereret beskrivelse">
            <a:extLst>
              <a:ext uri="{FF2B5EF4-FFF2-40B4-BE49-F238E27FC236}">
                <a16:creationId xmlns:a16="http://schemas.microsoft.com/office/drawing/2014/main" id="{61B8490B-1944-0C25-693A-47C6157233E9}"/>
              </a:ext>
            </a:extLst>
          </p:cNvPr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343880" y="3309176"/>
            <a:ext cx="404631" cy="403948"/>
          </a:xfrm>
          <a:prstGeom prst="rect">
            <a:avLst/>
          </a:prstGeom>
        </p:spPr>
      </p:pic>
      <p:pic>
        <p:nvPicPr>
          <p:cNvPr id="18" name="Billede 17" descr="Et billede, der indeholder Grafik, Font/skrifttype, grafisk design, symbol&#10;&#10;Automatisk genereret beskrivelse">
            <a:extLst>
              <a:ext uri="{FF2B5EF4-FFF2-40B4-BE49-F238E27FC236}">
                <a16:creationId xmlns:a16="http://schemas.microsoft.com/office/drawing/2014/main" id="{74D3B81D-7D0E-011C-DB0B-2E04333E509B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546196" y="3178040"/>
            <a:ext cx="586801" cy="586801"/>
          </a:xfrm>
          <a:prstGeom prst="rect">
            <a:avLst/>
          </a:prstGeom>
        </p:spPr>
      </p:pic>
      <p:pic>
        <p:nvPicPr>
          <p:cNvPr id="20" name="Billede 19" descr="Et billede, der indeholder vindmølle&#10;&#10;Automatisk genereret beskrivelse">
            <a:extLst>
              <a:ext uri="{FF2B5EF4-FFF2-40B4-BE49-F238E27FC236}">
                <a16:creationId xmlns:a16="http://schemas.microsoft.com/office/drawing/2014/main" id="{8E3E6193-C817-A30E-71CC-C3F7CCFDA24D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65423" y="1883528"/>
            <a:ext cx="719003" cy="719003"/>
          </a:xfrm>
          <a:prstGeom prst="rect">
            <a:avLst/>
          </a:prstGeom>
        </p:spPr>
      </p:pic>
      <p:pic>
        <p:nvPicPr>
          <p:cNvPr id="22" name="Billede 21" descr="Et billede, der indeholder skærmbillede, Rektangel, kvadratisk, design&#10;&#10;Automatisk genereret beskrivelse">
            <a:extLst>
              <a:ext uri="{FF2B5EF4-FFF2-40B4-BE49-F238E27FC236}">
                <a16:creationId xmlns:a16="http://schemas.microsoft.com/office/drawing/2014/main" id="{3C55B7ED-DCFD-6BE4-06A3-5A85C860761A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972598" y="2100427"/>
            <a:ext cx="423656" cy="423656"/>
          </a:xfrm>
          <a:prstGeom prst="rect">
            <a:avLst/>
          </a:prstGeom>
        </p:spPr>
      </p:pic>
      <p:pic>
        <p:nvPicPr>
          <p:cNvPr id="25" name="Billede 24" descr="Et billede, der indeholder Grafik, symbol, cirkel, skærmbillede&#10;&#10;Automatisk genereret beskrivelse">
            <a:extLst>
              <a:ext uri="{FF2B5EF4-FFF2-40B4-BE49-F238E27FC236}">
                <a16:creationId xmlns:a16="http://schemas.microsoft.com/office/drawing/2014/main" id="{ECE9AC4B-82D3-A542-903D-C19924783873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062182" y="3369892"/>
            <a:ext cx="293173" cy="292610"/>
          </a:xfrm>
          <a:prstGeom prst="rect">
            <a:avLst/>
          </a:prstGeom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38821547-2E81-2237-168E-DCBB83161D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10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20536" y="188640"/>
            <a:ext cx="971548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93663047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billede 1">
            <a:extLst>
              <a:ext uri="{FF2B5EF4-FFF2-40B4-BE49-F238E27FC236}">
                <a16:creationId xmlns:a16="http://schemas.microsoft.com/office/drawing/2014/main" id="{7C7CB709-0433-67D7-08E8-E1654C1936D5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blipFill dpi="0" rotWithShape="1">
            <a:blip r:embed="rId2">
              <a:alphaModFix amt="84000"/>
            </a:blip>
            <a:srcRect/>
            <a:stretch>
              <a:fillRect/>
            </a:stretch>
          </a:blipFill>
        </p:spPr>
        <p:txBody>
          <a:bodyPr/>
          <a:lstStyle/>
          <a:p>
            <a:endParaRPr lang="en-DK"/>
          </a:p>
        </p:txBody>
      </p:sp>
      <p:sp>
        <p:nvSpPr>
          <p:cNvPr id="5" name="Pladsholder til indhold 4">
            <a:extLst>
              <a:ext uri="{FF2B5EF4-FFF2-40B4-BE49-F238E27FC236}">
                <a16:creationId xmlns:a16="http://schemas.microsoft.com/office/drawing/2014/main" id="{87BDE40B-B8ED-5C97-9A0D-8B8D555A66C9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515938" y="2852936"/>
            <a:ext cx="6012109" cy="3023989"/>
          </a:xfrm>
        </p:spPr>
        <p:txBody>
          <a:bodyPr>
            <a:normAutofit/>
          </a:bodyPr>
          <a:lstStyle/>
          <a:p>
            <a:r>
              <a:rPr lang="da-DK" sz="1400"/>
              <a:t>Wind </a:t>
            </a:r>
            <a:r>
              <a:rPr lang="da-DK" sz="1400" err="1"/>
              <a:t>Estate</a:t>
            </a:r>
            <a:r>
              <a:rPr lang="da-DK" sz="1400"/>
              <a:t> og Eurowind Energy, aftalt at danne et fælles selskab med en kapacitet på 186,3 MW i drift og Danmarks største vindpark i porteføljen. Det fælles ejede selskab, K/S Blue Holding, vil være ejet 50% af Wind </a:t>
            </a:r>
            <a:r>
              <a:rPr lang="da-DK" sz="1400" err="1"/>
              <a:t>Estate</a:t>
            </a:r>
            <a:r>
              <a:rPr lang="da-DK" sz="1400"/>
              <a:t> og 50% af Eurowind Energy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a-DK" sz="1400"/>
          </a:p>
          <a:p>
            <a:r>
              <a:rPr lang="da-DK" sz="1400"/>
              <a:t>Eurowind Energy bidrager til det nye selskab med 28 turbiner i Overgaard Vindpark nær Randers (96,9 MW) og 11 turbiner i Nørre Økse Sø Vindpark nær Brovst (39,6 MW), mens Wind </a:t>
            </a:r>
            <a:r>
              <a:rPr lang="da-DK" sz="1400" err="1"/>
              <a:t>Estate</a:t>
            </a:r>
            <a:r>
              <a:rPr lang="da-DK" sz="1400"/>
              <a:t> bidrager med 16 turbiner i Overgaard (49,8 MW)</a:t>
            </a: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a-DK" sz="1400"/>
          </a:p>
          <a:p>
            <a:r>
              <a:rPr lang="da-DK" sz="1400"/>
              <a:t>Partnerskabet giver flere nye muligheder, herunder potentialet for at samarbejde om yderligere udvikling i Overgaard-området inden for både sol- og vindenergi.</a:t>
            </a:r>
            <a:endParaRPr lang="en-DK" sz="1400"/>
          </a:p>
        </p:txBody>
      </p:sp>
      <p:sp>
        <p:nvSpPr>
          <p:cNvPr id="6" name="Pladsholder til tekst 5">
            <a:extLst>
              <a:ext uri="{FF2B5EF4-FFF2-40B4-BE49-F238E27FC236}">
                <a16:creationId xmlns:a16="http://schemas.microsoft.com/office/drawing/2014/main" id="{D43D223B-C71D-785B-1936-B842156FB117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>
            <a:normAutofit fontScale="25000" lnSpcReduction="20000"/>
          </a:bodyPr>
          <a:lstStyle/>
          <a:p>
            <a:endParaRPr lang="en-DK"/>
          </a:p>
        </p:txBody>
      </p:sp>
      <p:sp>
        <p:nvSpPr>
          <p:cNvPr id="7" name="Titel 3">
            <a:extLst>
              <a:ext uri="{FF2B5EF4-FFF2-40B4-BE49-F238E27FC236}">
                <a16:creationId xmlns:a16="http://schemas.microsoft.com/office/drawing/2014/main" id="{25329668-1320-BEA7-CE3C-E1F9038ADE1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981075"/>
            <a:ext cx="6732190" cy="1367806"/>
          </a:xfrm>
        </p:spPr>
        <p:txBody>
          <a:bodyPr/>
          <a:lstStyle/>
          <a:p>
            <a:r>
              <a:rPr lang="da-DK" sz="2400" b="0"/>
              <a:t>Project Blue</a:t>
            </a:r>
            <a:br>
              <a:rPr lang="da-DK" sz="3200"/>
            </a:br>
            <a:r>
              <a:rPr lang="da-DK" sz="3200"/>
              <a:t>Partnerskab mellem Wind </a:t>
            </a:r>
            <a:r>
              <a:rPr lang="da-DK" sz="3200" err="1"/>
              <a:t>Estate</a:t>
            </a:r>
            <a:r>
              <a:rPr lang="da-DK" sz="3200"/>
              <a:t> og Eurowind Energy</a:t>
            </a:r>
            <a:endParaRPr lang="en-DK" sz="3200"/>
          </a:p>
        </p:txBody>
      </p:sp>
      <p:pic>
        <p:nvPicPr>
          <p:cNvPr id="2050" name="Picture 2">
            <a:extLst>
              <a:ext uri="{FF2B5EF4-FFF2-40B4-BE49-F238E27FC236}">
                <a16:creationId xmlns:a16="http://schemas.microsoft.com/office/drawing/2014/main" id="{6877873E-B607-5509-F4D9-6CDC3B7287B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10489190" y="304863"/>
            <a:ext cx="1294740" cy="6724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60827083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1119185-4C1F-6DEE-E317-AF1873A2C6B3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>
            <a:extLst>
              <a:ext uri="{FF2B5EF4-FFF2-40B4-BE49-F238E27FC236}">
                <a16:creationId xmlns:a16="http://schemas.microsoft.com/office/drawing/2014/main" id="{1AC3A3C7-8B4D-D54E-E536-E472A2FAF3CB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191996" cy="6857997"/>
          </a:xfrm>
          <a:prstGeom prst="rect">
            <a:avLst/>
          </a:prstGeom>
        </p:spPr>
      </p:pic>
      <p:sp>
        <p:nvSpPr>
          <p:cNvPr id="4" name="Pladsholder til slidenummer 3" hidden="1">
            <a:extLst>
              <a:ext uri="{FF2B5EF4-FFF2-40B4-BE49-F238E27FC236}">
                <a16:creationId xmlns:a16="http://schemas.microsoft.com/office/drawing/2014/main" id="{99FB71B2-99D3-F03D-BE4C-60D1A3D68234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811673A4-D707-475A-BF47-C05C70FAC46A}" type="slidenum">
              <a:rPr lang="en-GB" smtClean="0"/>
              <a:pPr>
                <a:spcAft>
                  <a:spcPts val="600"/>
                </a:spcAft>
              </a:pPr>
              <a:t>3</a:t>
            </a:fld>
            <a:endParaRPr lang="en-GB"/>
          </a:p>
        </p:txBody>
      </p:sp>
      <p:pic>
        <p:nvPicPr>
          <p:cNvPr id="6" name="Billede 5" descr="Et billede, der indeholder Font/skrifttype, Grafik, skærmbillede, grafisk design&#10;&#10;Automatisk genereret beskrivelse">
            <a:extLst>
              <a:ext uri="{FF2B5EF4-FFF2-40B4-BE49-F238E27FC236}">
                <a16:creationId xmlns:a16="http://schemas.microsoft.com/office/drawing/2014/main" id="{3148ACCA-D03A-390D-3A09-E66F9882A249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325" y="6444089"/>
            <a:ext cx="1639835" cy="203037"/>
          </a:xfrm>
          <a:prstGeom prst="rect">
            <a:avLst/>
          </a:prstGeom>
        </p:spPr>
      </p:pic>
      <p:sp>
        <p:nvSpPr>
          <p:cNvPr id="10" name="Tekstfelt 9">
            <a:extLst>
              <a:ext uri="{FF2B5EF4-FFF2-40B4-BE49-F238E27FC236}">
                <a16:creationId xmlns:a16="http://schemas.microsoft.com/office/drawing/2014/main" id="{1977370D-582F-9511-E498-E35478C4E386}"/>
              </a:ext>
            </a:extLst>
          </p:cNvPr>
          <p:cNvSpPr txBox="1"/>
          <p:nvPr/>
        </p:nvSpPr>
        <p:spPr>
          <a:xfrm>
            <a:off x="7508789" y="1848173"/>
            <a:ext cx="887121" cy="76241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endParaRPr lang="da-DK" sz="1273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9B30C739-4CDA-5EC6-F211-9EA1D071B47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2464" y="260648"/>
            <a:ext cx="971548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6BF11ED1-20E8-E5F6-B725-C355F342778F}"/>
              </a:ext>
            </a:extLst>
          </p:cNvPr>
          <p:cNvSpPr txBox="1"/>
          <p:nvPr/>
        </p:nvSpPr>
        <p:spPr>
          <a:xfrm>
            <a:off x="263352" y="3789040"/>
            <a:ext cx="3749459" cy="2000548"/>
          </a:xfrm>
          <a:prstGeom prst="rect">
            <a:avLst/>
          </a:prstGeom>
          <a:solidFill>
            <a:srgbClr val="FFFFFF">
              <a:alpha val="85098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3200" b="1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rojektansøgning</a:t>
            </a:r>
            <a:br>
              <a:rPr kumimoji="0" lang="da-DK" sz="3200" b="1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nergipark Overgaar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200" dirty="0">
                <a:solidFill>
                  <a:srgbClr val="041E42"/>
                </a:solidFill>
                <a:latin typeface="Century Gothic" panose="020F0302020204030204"/>
              </a:rPr>
              <a:t>WE og EWE har ansøgt om: 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dirty="0">
                <a:solidFill>
                  <a:srgbClr val="041E42"/>
                </a:solidFill>
                <a:latin typeface="Century Gothic" panose="020F0302020204030204"/>
              </a:rPr>
              <a:t>6 nye V136 vindmøller (150m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dirty="0">
                <a:solidFill>
                  <a:srgbClr val="041E42"/>
                </a:solidFill>
                <a:latin typeface="Century Gothic" panose="020F0302020204030204"/>
              </a:rPr>
              <a:t>Ca. 850 ha solcell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dirty="0">
                <a:solidFill>
                  <a:srgbClr val="041E42"/>
                </a:solidFill>
                <a:latin typeface="Century Gothic" panose="020F0302020204030204"/>
              </a:rPr>
              <a:t>Et anlæg til Power to X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945267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D458C172-AFF4-870F-EF95-18DB29EB76DC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Billede 7">
            <a:extLst>
              <a:ext uri="{FF2B5EF4-FFF2-40B4-BE49-F238E27FC236}">
                <a16:creationId xmlns:a16="http://schemas.microsoft.com/office/drawing/2014/main" id="{F4CB6FB2-2B3F-0E51-0A2C-282861637946}"/>
              </a:ext>
            </a:extLst>
          </p:cNvPr>
          <p:cNvPicPr>
            <a:picLocks noGrp="1" noRot="1" noChangeAspect="1" noMove="1" noResize="1" noEditPoints="1" noAdjustHandles="1" noChangeArrowheads="1" noChangeShapeType="1" noCrop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2" y="0"/>
            <a:ext cx="12191996" cy="6857997"/>
          </a:xfrm>
          <a:prstGeom prst="rect">
            <a:avLst/>
          </a:prstGeom>
        </p:spPr>
      </p:pic>
      <p:sp>
        <p:nvSpPr>
          <p:cNvPr id="4" name="Pladsholder til slidenummer 3" hidden="1">
            <a:extLst>
              <a:ext uri="{FF2B5EF4-FFF2-40B4-BE49-F238E27FC236}">
                <a16:creationId xmlns:a16="http://schemas.microsoft.com/office/drawing/2014/main" id="{359486F2-4657-276A-CD1D-9378A53E7C0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>
              <a:spcAft>
                <a:spcPts val="600"/>
              </a:spcAft>
            </a:pPr>
            <a:fld id="{811673A4-D707-475A-BF47-C05C70FAC46A}" type="slidenum">
              <a:rPr lang="en-GB" smtClean="0"/>
              <a:pPr>
                <a:spcAft>
                  <a:spcPts val="600"/>
                </a:spcAft>
              </a:pPr>
              <a:t>4</a:t>
            </a:fld>
            <a:endParaRPr lang="en-GB"/>
          </a:p>
        </p:txBody>
      </p:sp>
      <p:pic>
        <p:nvPicPr>
          <p:cNvPr id="6" name="Billede 5" descr="Et billede, der indeholder Font/skrifttype, Grafik, skærmbillede, grafisk design&#10;&#10;Automatisk genereret beskrivelse">
            <a:extLst>
              <a:ext uri="{FF2B5EF4-FFF2-40B4-BE49-F238E27FC236}">
                <a16:creationId xmlns:a16="http://schemas.microsoft.com/office/drawing/2014/main" id="{1681D0F1-CDE2-3C80-A65F-3FD1B78D2F11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02325" y="6444089"/>
            <a:ext cx="1639835" cy="203037"/>
          </a:xfrm>
          <a:prstGeom prst="rect">
            <a:avLst/>
          </a:prstGeom>
        </p:spPr>
      </p:pic>
      <p:sp>
        <p:nvSpPr>
          <p:cNvPr id="10" name="Tekstfelt 9">
            <a:extLst>
              <a:ext uri="{FF2B5EF4-FFF2-40B4-BE49-F238E27FC236}">
                <a16:creationId xmlns:a16="http://schemas.microsoft.com/office/drawing/2014/main" id="{10D34857-0597-1BD1-114D-D7F6273C40E6}"/>
              </a:ext>
            </a:extLst>
          </p:cNvPr>
          <p:cNvSpPr txBox="1"/>
          <p:nvPr/>
        </p:nvSpPr>
        <p:spPr>
          <a:xfrm>
            <a:off x="7508789" y="1848173"/>
            <a:ext cx="887121" cy="762412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 algn="l"/>
            <a:endParaRPr lang="da-DK" sz="1273"/>
          </a:p>
        </p:txBody>
      </p:sp>
      <p:pic>
        <p:nvPicPr>
          <p:cNvPr id="12" name="Picture 2">
            <a:extLst>
              <a:ext uri="{FF2B5EF4-FFF2-40B4-BE49-F238E27FC236}">
                <a16:creationId xmlns:a16="http://schemas.microsoft.com/office/drawing/2014/main" id="{8F9668DD-1321-DBA8-B77F-ED146FB16EA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2464" y="260648"/>
            <a:ext cx="971548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5FF16ECD-96F4-4374-D04A-A435BD78A4B8}"/>
              </a:ext>
            </a:extLst>
          </p:cNvPr>
          <p:cNvSpPr txBox="1"/>
          <p:nvPr/>
        </p:nvSpPr>
        <p:spPr>
          <a:xfrm>
            <a:off x="263352" y="3068960"/>
            <a:ext cx="3749459" cy="3046988"/>
          </a:xfrm>
          <a:prstGeom prst="rect">
            <a:avLst/>
          </a:prstGeom>
          <a:solidFill>
            <a:srgbClr val="FFFFFF">
              <a:alpha val="85098"/>
            </a:srgbClr>
          </a:solidFill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3200" b="1" i="0" u="none" strike="noStrike" kern="1200" cap="none" spc="0" normalizeH="0" baseline="0" noProof="0" dirty="0">
                <a:ln>
                  <a:noFill/>
                </a:ln>
                <a:solidFill>
                  <a:schemeClr val="tx2">
                    <a:lumMod val="75000"/>
                    <a:lumOff val="25000"/>
                  </a:schemeClr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Opdateret</a:t>
            </a:r>
            <a:r>
              <a:rPr kumimoji="0" lang="da-DK" sz="3200" b="1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Projektansøgning</a:t>
            </a:r>
            <a:br>
              <a:rPr kumimoji="0" lang="da-DK" sz="3200" b="1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da-DK" sz="2000" b="0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nergipark Overgaard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  <a:p>
            <a:pPr marR="0" lvl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tabLst/>
              <a:defRPr/>
            </a:pPr>
            <a:r>
              <a:rPr lang="da-DK" sz="1200" dirty="0">
                <a:solidFill>
                  <a:srgbClr val="041E42"/>
                </a:solidFill>
                <a:latin typeface="Century Gothic" panose="020F0302020204030204"/>
              </a:rPr>
              <a:t>WE og EWE ønsker at etablere: 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a-DK" sz="1200" dirty="0">
                <a:solidFill>
                  <a:srgbClr val="041E42"/>
                </a:solidFill>
                <a:latin typeface="Century Gothic" panose="020F0302020204030204"/>
              </a:rPr>
              <a:t>6 nye </a:t>
            </a:r>
            <a:r>
              <a:rPr lang="da-DK" sz="12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Century Gothic" panose="020F0302020204030204"/>
              </a:rPr>
              <a:t>V162</a:t>
            </a:r>
            <a:r>
              <a:rPr lang="da-DK" sz="1200" dirty="0">
                <a:solidFill>
                  <a:srgbClr val="041E42"/>
                </a:solidFill>
                <a:latin typeface="Century Gothic" panose="020F0302020204030204"/>
              </a:rPr>
              <a:t> vindmøller (180m)</a:t>
            </a:r>
          </a:p>
          <a:p>
            <a:pPr marL="171450" indent="-171450">
              <a:buFont typeface="Arial" panose="020B0604020202020204" pitchFamily="34" charset="0"/>
              <a:buChar char="•"/>
              <a:defRPr/>
            </a:pPr>
            <a:r>
              <a:rPr lang="da-DK" sz="1200" dirty="0" err="1">
                <a:solidFill>
                  <a:srgbClr val="041E42"/>
                </a:solidFill>
                <a:latin typeface="Century Gothic" panose="020F0302020204030204"/>
              </a:rPr>
              <a:t>Repowering</a:t>
            </a:r>
            <a:r>
              <a:rPr lang="da-DK" sz="1200" dirty="0">
                <a:solidFill>
                  <a:srgbClr val="041E42"/>
                </a:solidFill>
                <a:latin typeface="Century Gothic" panose="020F0302020204030204"/>
              </a:rPr>
              <a:t> af 10 Siemens møller med </a:t>
            </a:r>
            <a:r>
              <a:rPr lang="da-DK" sz="12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Century Gothic" panose="020F0302020204030204"/>
              </a:rPr>
              <a:t>V162</a:t>
            </a:r>
            <a:r>
              <a:rPr lang="da-DK" sz="1200" dirty="0">
                <a:solidFill>
                  <a:srgbClr val="041E42"/>
                </a:solidFill>
                <a:latin typeface="Century Gothic" panose="020F0302020204030204"/>
              </a:rPr>
              <a:t> (180m)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dirty="0">
                <a:solidFill>
                  <a:srgbClr val="041E42"/>
                </a:solidFill>
                <a:latin typeface="Century Gothic" panose="020F0302020204030204"/>
              </a:rPr>
              <a:t>Ca. 850 ha solceller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dirty="0">
                <a:solidFill>
                  <a:srgbClr val="041E42"/>
                </a:solidFill>
                <a:latin typeface="Century Gothic" panose="020F0302020204030204"/>
              </a:rPr>
              <a:t>Et anlæg til Power to X</a:t>
            </a: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da-DK" sz="1200" b="1" dirty="0">
                <a:solidFill>
                  <a:schemeClr val="tx2">
                    <a:lumMod val="75000"/>
                    <a:lumOff val="25000"/>
                  </a:schemeClr>
                </a:solidFill>
                <a:latin typeface="Century Gothic" panose="020F0302020204030204"/>
              </a:rPr>
              <a:t>Et batterianlæg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3" name="Ellipse 2">
            <a:extLst>
              <a:ext uri="{FF2B5EF4-FFF2-40B4-BE49-F238E27FC236}">
                <a16:creationId xmlns:a16="http://schemas.microsoft.com/office/drawing/2014/main" id="{45FF09D2-6C75-D10D-3282-5B194D442987}"/>
              </a:ext>
            </a:extLst>
          </p:cNvPr>
          <p:cNvSpPr/>
          <p:nvPr/>
        </p:nvSpPr>
        <p:spPr>
          <a:xfrm>
            <a:off x="7387389" y="3585411"/>
            <a:ext cx="3208422" cy="1403684"/>
          </a:xfrm>
          <a:prstGeom prst="ellipse">
            <a:avLst/>
          </a:prstGeom>
          <a:noFill/>
          <a:ln>
            <a:solidFill>
              <a:schemeClr val="accent1"/>
            </a:solidFill>
            <a:prstDash val="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DK" sz="1000" dirty="0">
              <a:solidFill>
                <a:schemeClr val="bg1"/>
              </a:solidFill>
            </a:endParaRPr>
          </a:p>
        </p:txBody>
      </p:sp>
      <p:cxnSp>
        <p:nvCxnSpPr>
          <p:cNvPr id="5" name="Lige forbindelse 4">
            <a:extLst>
              <a:ext uri="{FF2B5EF4-FFF2-40B4-BE49-F238E27FC236}">
                <a16:creationId xmlns:a16="http://schemas.microsoft.com/office/drawing/2014/main" id="{13CC0A4A-B55C-0E82-A002-E2D7E19F82A9}"/>
              </a:ext>
            </a:extLst>
          </p:cNvPr>
          <p:cNvCxnSpPr>
            <a:cxnSpLocks/>
            <a:stCxn id="3" idx="2"/>
          </p:cNvCxnSpPr>
          <p:nvPr/>
        </p:nvCxnSpPr>
        <p:spPr>
          <a:xfrm flipH="1">
            <a:off x="3871609" y="4287253"/>
            <a:ext cx="3515780" cy="701842"/>
          </a:xfrm>
          <a:prstGeom prst="line">
            <a:avLst/>
          </a:prstGeom>
          <a:ln w="19050">
            <a:prstDash val="sys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393250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ladsholder til billede 5">
            <a:extLst>
              <a:ext uri="{FF2B5EF4-FFF2-40B4-BE49-F238E27FC236}">
                <a16:creationId xmlns:a16="http://schemas.microsoft.com/office/drawing/2014/main" id="{09A235CA-8EE1-F83B-2517-08415D44E518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96000" y="0"/>
            <a:ext cx="6096000" cy="6858000"/>
          </a:xfrm>
          <a:prstGeom prst="rect">
            <a:avLst/>
          </a:prstGeom>
        </p:spPr>
      </p:pic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DF6D8776-136B-9F48-4019-B220FF426C8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pPr/>
              <a:t>5</a:t>
            </a:fld>
            <a:endParaRPr lang="en-GB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56A5BE73-D7AF-D4A5-98FD-2EBBF9D6799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938" y="2276872"/>
            <a:ext cx="5083176" cy="3743528"/>
          </a:xfrm>
        </p:spPr>
        <p:txBody>
          <a:bodyPr>
            <a:normAutofit fontScale="92500" lnSpcReduction="10000"/>
          </a:bodyPr>
          <a:lstStyle/>
          <a:p>
            <a:pPr marL="171450" lvl="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a-DK" sz="1400" b="1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Øget energiproduktion: </a:t>
            </a:r>
            <a:r>
              <a:rPr lang="da-DK" sz="1400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Ved at erstatte ældre møller med større og mere effektive modeller kan energiproduktionen øges betydeligt. </a:t>
            </a:r>
          </a:p>
          <a:p>
            <a:pPr marL="423450" lvl="1" indent="-171450">
              <a:lnSpc>
                <a:spcPct val="107000"/>
              </a:lnSpc>
              <a:spcAft>
                <a:spcPts val="800"/>
              </a:spcAft>
            </a:pPr>
            <a:r>
              <a:rPr lang="da-DK" sz="1400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WE og WE ønsker at etablere højere, mere effektive og dermed fremtidssikre vindmøller med en totalhøjde op til 180 meter i stedet for 150 meter. </a:t>
            </a:r>
          </a:p>
          <a:p>
            <a:pPr marL="423450" lvl="1" indent="-171450">
              <a:lnSpc>
                <a:spcPct val="107000"/>
              </a:lnSpc>
              <a:spcAft>
                <a:spcPts val="800"/>
              </a:spcAft>
            </a:pPr>
            <a:r>
              <a:rPr lang="da-DK" sz="1400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t ønskes for såvel </a:t>
            </a:r>
            <a:r>
              <a:rPr lang="da-DK" sz="1400" kern="10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epowering</a:t>
            </a:r>
            <a:r>
              <a:rPr lang="da-DK" sz="1400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-projektet i etape 3 med 10 vindmøller og etape 4 med 6 nye vindmøller.</a:t>
            </a:r>
          </a:p>
          <a:p>
            <a:pPr marL="423450" lvl="1" indent="-171450">
              <a:lnSpc>
                <a:spcPct val="107000"/>
              </a:lnSpc>
              <a:spcAft>
                <a:spcPts val="800"/>
              </a:spcAft>
            </a:pPr>
            <a:r>
              <a:rPr lang="da-DK" sz="1400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Energimæssigt vil højdeforøgelsen bevirke en elproduktionsstigning på ca. 54% fra samme antal vindmøller – med en tilsvarende højere CO2-reduktion. </a:t>
            </a:r>
          </a:p>
          <a:p>
            <a:pPr marL="171450" lvl="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a-DK" sz="1400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Det er vigtigt at finde en balance mellem udbygning af vedvarende energi og hensyn til natur og miljø. </a:t>
            </a:r>
          </a:p>
          <a:p>
            <a:pPr marL="171450" lvl="0" indent="-171450">
              <a:lnSpc>
                <a:spcPct val="107000"/>
              </a:lnSpc>
              <a:spcAft>
                <a:spcPts val="800"/>
              </a:spcAft>
              <a:buFont typeface="Arial" panose="020B0604020202020204" pitchFamily="34" charset="0"/>
              <a:buChar char="•"/>
            </a:pPr>
            <a:r>
              <a:rPr lang="da-DK" sz="1400" kern="100" err="1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Repowering</a:t>
            </a:r>
            <a:r>
              <a:rPr lang="da-DK" sz="1400" kern="100">
                <a:effectLst/>
                <a:ea typeface="Calibri" panose="020F0502020204030204" pitchFamily="34" charset="0"/>
                <a:cs typeface="Times New Roman" panose="02020603050405020304" pitchFamily="18" charset="0"/>
              </a:rPr>
              <a:t> giver os mulighed for at udnytte pladsen mere effektivt og skabe en bæredygtig fremtid.</a:t>
            </a:r>
            <a:endParaRPr lang="en-US" sz="1400" kern="100">
              <a:effectLst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1450" indent="-171450">
              <a:buFont typeface="Arial" panose="020B0604020202020204" pitchFamily="34" charset="0"/>
              <a:buChar char="•"/>
            </a:pPr>
            <a:endParaRPr lang="da-DK" sz="1100"/>
          </a:p>
        </p:txBody>
      </p:sp>
      <p:sp>
        <p:nvSpPr>
          <p:cNvPr id="5" name="Titel 4">
            <a:extLst>
              <a:ext uri="{FF2B5EF4-FFF2-40B4-BE49-F238E27FC236}">
                <a16:creationId xmlns:a16="http://schemas.microsoft.com/office/drawing/2014/main" id="{C13A697E-3CED-92FF-7266-F866920B41B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981075"/>
            <a:ext cx="5220022" cy="1079774"/>
          </a:xfrm>
        </p:spPr>
        <p:txBody>
          <a:bodyPr/>
          <a:lstStyle/>
          <a:p>
            <a:r>
              <a:rPr lang="da-DK" sz="3600" err="1"/>
              <a:t>Repowering</a:t>
            </a:r>
            <a:r>
              <a:rPr lang="da-DK" sz="3600"/>
              <a:t> af møllerne i Overgaard</a:t>
            </a: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0BDFB597-B6F1-60D0-F636-4DBCBADBBB7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5938" y="210036"/>
            <a:ext cx="971548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7" name="Tabel 6">
            <a:extLst>
              <a:ext uri="{FF2B5EF4-FFF2-40B4-BE49-F238E27FC236}">
                <a16:creationId xmlns:a16="http://schemas.microsoft.com/office/drawing/2014/main" id="{B412C37A-BC6A-0C30-59A1-2B5169A9893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80775319"/>
              </p:ext>
            </p:extLst>
          </p:nvPr>
        </p:nvGraphicFramePr>
        <p:xfrm>
          <a:off x="6488813" y="2162809"/>
          <a:ext cx="5310373" cy="2847851"/>
        </p:xfrm>
        <a:graphic>
          <a:graphicData uri="http://schemas.openxmlformats.org/drawingml/2006/table">
            <a:tbl>
              <a:tblPr firstRow="1" firstCol="1" bandRow="1">
                <a:tableStyleId>{5C22544A-7EE6-4342-B048-85BDC9FD1C3A}</a:tableStyleId>
              </a:tblPr>
              <a:tblGrid>
                <a:gridCol w="1143000">
                  <a:extLst>
                    <a:ext uri="{9D8B030D-6E8A-4147-A177-3AD203B41FA5}">
                      <a16:colId xmlns:a16="http://schemas.microsoft.com/office/drawing/2014/main" val="1530377977"/>
                    </a:ext>
                  </a:extLst>
                </a:gridCol>
                <a:gridCol w="1732394">
                  <a:extLst>
                    <a:ext uri="{9D8B030D-6E8A-4147-A177-3AD203B41FA5}">
                      <a16:colId xmlns:a16="http://schemas.microsoft.com/office/drawing/2014/main" val="2703696647"/>
                    </a:ext>
                  </a:extLst>
                </a:gridCol>
                <a:gridCol w="723449">
                  <a:extLst>
                    <a:ext uri="{9D8B030D-6E8A-4147-A177-3AD203B41FA5}">
                      <a16:colId xmlns:a16="http://schemas.microsoft.com/office/drawing/2014/main" val="3112368349"/>
                    </a:ext>
                  </a:extLst>
                </a:gridCol>
                <a:gridCol w="630163">
                  <a:extLst>
                    <a:ext uri="{9D8B030D-6E8A-4147-A177-3AD203B41FA5}">
                      <a16:colId xmlns:a16="http://schemas.microsoft.com/office/drawing/2014/main" val="2957530004"/>
                    </a:ext>
                  </a:extLst>
                </a:gridCol>
                <a:gridCol w="1081367">
                  <a:extLst>
                    <a:ext uri="{9D8B030D-6E8A-4147-A177-3AD203B41FA5}">
                      <a16:colId xmlns:a16="http://schemas.microsoft.com/office/drawing/2014/main" val="3403067231"/>
                    </a:ext>
                  </a:extLst>
                </a:gridCol>
              </a:tblGrid>
              <a:tr h="26919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 dirty="0">
                          <a:effectLst/>
                        </a:rPr>
                        <a:t>Vedvarende energi, type</a:t>
                      </a:r>
                      <a:endParaRPr lang="en-DK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 dirty="0">
                          <a:effectLst/>
                        </a:rPr>
                        <a:t>Antal/ha</a:t>
                      </a:r>
                      <a:endParaRPr lang="en-DK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>
                          <a:effectLst/>
                        </a:rPr>
                        <a:t>Højde</a:t>
                      </a:r>
                      <a:endParaRPr lang="en-DK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>
                          <a:effectLst/>
                        </a:rPr>
                        <a:t>Effekt</a:t>
                      </a:r>
                      <a:endParaRPr lang="en-DK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>
                          <a:effectLst/>
                        </a:rPr>
                        <a:t>Årlig produktion</a:t>
                      </a:r>
                      <a:endParaRPr lang="en-DK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729158699"/>
                  </a:ext>
                </a:extLst>
              </a:tr>
              <a:tr h="34498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 dirty="0">
                          <a:effectLst/>
                        </a:rPr>
                        <a:t>Eksisterende vindmøller </a:t>
                      </a:r>
                      <a:endParaRPr lang="en-DK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100" kern="100" dirty="0">
                          <a:effectLst/>
                        </a:rPr>
                        <a:t>10 a Siemens </a:t>
                      </a:r>
                      <a:endParaRPr lang="en-DK" sz="1100" kern="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t-PT" sz="1100" kern="100" dirty="0">
                          <a:effectLst/>
                        </a:rPr>
                        <a:t>36 a Vestas V126</a:t>
                      </a:r>
                      <a:endParaRPr lang="en-DK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l-PL" sz="1100" kern="100" dirty="0">
                          <a:effectLst/>
                        </a:rPr>
                        <a:t>127 m </a:t>
                      </a:r>
                      <a:endParaRPr lang="da-DK" sz="1100" kern="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l-PL" sz="1100" kern="100" dirty="0">
                          <a:effectLst/>
                        </a:rPr>
                        <a:t>150 m</a:t>
                      </a:r>
                      <a:endParaRPr lang="en-DK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l-PL" sz="1100" kern="100">
                          <a:effectLst/>
                        </a:rPr>
                        <a:t>2,3MW</a:t>
                      </a:r>
                      <a:endParaRPr lang="en-DK" sz="1100" kern="1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pl-PL" sz="1100" kern="100">
                          <a:effectLst/>
                        </a:rPr>
                        <a:t>3,6MW</a:t>
                      </a:r>
                      <a:endParaRPr lang="en-DK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pl-PL" sz="1100" kern="100" dirty="0">
                          <a:effectLst/>
                        </a:rPr>
                        <a:t> </a:t>
                      </a:r>
                      <a:endParaRPr lang="en-DK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endParaRPr lang="en-DK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319298189"/>
                  </a:ext>
                </a:extLst>
              </a:tr>
              <a:tr h="130732">
                <a:tc gridSpan="5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Ansøgt:</a:t>
                      </a:r>
                      <a:endParaRPr lang="en-DK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n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16887084"/>
                  </a:ext>
                </a:extLst>
              </a:tr>
              <a:tr h="34401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 dirty="0">
                          <a:effectLst/>
                        </a:rPr>
                        <a:t>Vindmøller (a)</a:t>
                      </a:r>
                      <a:endParaRPr lang="en-DK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 dirty="0">
                          <a:effectLst/>
                        </a:rPr>
                        <a:t>6 nye V136</a:t>
                      </a:r>
                      <a:endParaRPr lang="en-DK" sz="1100" kern="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 dirty="0" err="1">
                          <a:effectLst/>
                        </a:rPr>
                        <a:t>Repower</a:t>
                      </a:r>
                      <a:r>
                        <a:rPr lang="da-DK" sz="1100" kern="100" dirty="0">
                          <a:effectLst/>
                        </a:rPr>
                        <a:t> 10 stk. V136</a:t>
                      </a:r>
                      <a:endParaRPr lang="en-DK" sz="1100" kern="100" dirty="0">
                        <a:effectLst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 dirty="0">
                          <a:effectLst/>
                        </a:rPr>
                        <a:t>150 m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100" kern="100" dirty="0">
                          <a:effectLst/>
                        </a:rPr>
                        <a:t>150 m</a:t>
                      </a:r>
                      <a:endParaRPr lang="en-DK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 dirty="0">
                          <a:effectLst/>
                        </a:rPr>
                        <a:t>4,5MW</a:t>
                      </a:r>
                      <a:endParaRPr lang="en-DK" sz="1100" kern="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 dirty="0">
                          <a:effectLst/>
                        </a:rPr>
                        <a:t>4,5MW</a:t>
                      </a:r>
                      <a:endParaRPr lang="en-DK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0" marR="0" lvl="0" indent="35306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da-DK" sz="1100" b="0" i="0" u="none" strike="noStrike" kern="100" cap="none" spc="0" normalizeH="0" baseline="0" noProof="0" dirty="0">
                          <a:ln>
                            <a:noFill/>
                          </a:ln>
                          <a:solidFill>
                            <a:srgbClr val="041E42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204.000 MWh</a:t>
                      </a:r>
                      <a:endParaRPr lang="en-DK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0" marR="0" marT="0" marB="0"/>
                </a:tc>
                <a:extLst>
                  <a:ext uri="{0D108BD9-81ED-4DB2-BD59-A6C34878D82A}">
                    <a16:rowId xmlns:a16="http://schemas.microsoft.com/office/drawing/2014/main" val="1794261909"/>
                  </a:ext>
                </a:extLst>
              </a:tr>
              <a:tr h="26654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 dirty="0">
                          <a:effectLst/>
                        </a:rPr>
                        <a:t>Solceller</a:t>
                      </a:r>
                      <a:endParaRPr lang="en-DK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>
                          <a:effectLst/>
                        </a:rPr>
                        <a:t>850 ha solpark </a:t>
                      </a:r>
                      <a:endParaRPr lang="en-DK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>
                          <a:effectLst/>
                        </a:rPr>
                        <a:t>4,5 m</a:t>
                      </a:r>
                      <a:endParaRPr lang="en-DK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>
                          <a:effectLst/>
                        </a:rPr>
                        <a:t>612 MW</a:t>
                      </a:r>
                      <a:endParaRPr lang="en-DK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 dirty="0">
                          <a:effectLst/>
                        </a:rPr>
                        <a:t>833.000 MWh</a:t>
                      </a:r>
                      <a:endParaRPr lang="en-DK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966848201"/>
                  </a:ext>
                </a:extLst>
              </a:tr>
              <a:tr h="34401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 dirty="0">
                          <a:effectLst/>
                        </a:rPr>
                        <a:t>Power to X</a:t>
                      </a:r>
                      <a:endParaRPr lang="en-DK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 dirty="0">
                          <a:effectLst/>
                        </a:rPr>
                        <a:t>+100 MW </a:t>
                      </a:r>
                      <a:r>
                        <a:rPr lang="da-DK" sz="1100" kern="100" dirty="0" err="1">
                          <a:effectLst/>
                        </a:rPr>
                        <a:t>MW</a:t>
                      </a:r>
                      <a:endParaRPr lang="en-DK" sz="1100" kern="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 dirty="0">
                          <a:effectLst/>
                        </a:rPr>
                        <a:t> </a:t>
                      </a:r>
                      <a:endParaRPr lang="en-DK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 dirty="0">
                          <a:effectLst/>
                        </a:rPr>
                        <a:t>-</a:t>
                      </a:r>
                      <a:endParaRPr lang="en-DK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>
                          <a:effectLst/>
                        </a:rPr>
                        <a:t> </a:t>
                      </a:r>
                      <a:endParaRPr lang="en-DK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>
                          <a:effectLst/>
                        </a:rPr>
                        <a:t> </a:t>
                      </a:r>
                      <a:endParaRPr lang="en-DK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60707192"/>
                  </a:ext>
                </a:extLst>
              </a:tr>
              <a:tr h="130732">
                <a:tc gridSpan="5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 dirty="0">
                          <a:effectLst/>
                          <a:latin typeface="Calibri" panose="020F0502020204030204" pitchFamily="34" charset="0"/>
                          <a:ea typeface="Calibri" panose="020F0502020204030204" pitchFamily="34" charset="0"/>
                          <a:cs typeface="Times New Roman" panose="02020603050405020304" pitchFamily="18" charset="0"/>
                        </a:rPr>
                        <a:t>Nyt:</a:t>
                      </a:r>
                      <a:endParaRPr lang="en-DK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 hMerge="1">
                  <a:txBody>
                    <a:bodyPr/>
                    <a:lstStyle/>
                    <a:p>
                      <a:endParaRPr lang="en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DK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DK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40492121"/>
                  </a:ext>
                </a:extLst>
              </a:tr>
              <a:tr h="344018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 dirty="0">
                          <a:effectLst/>
                        </a:rPr>
                        <a:t>Vindmøller (b)</a:t>
                      </a:r>
                      <a:endParaRPr lang="en-DK" sz="1100" kern="100" dirty="0">
                        <a:effectLst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5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 dirty="0">
                          <a:effectLst/>
                        </a:rPr>
                        <a:t>6 nye V162</a:t>
                      </a:r>
                      <a:endParaRPr lang="en-DK" sz="1100" kern="100" dirty="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 dirty="0" err="1">
                          <a:effectLst/>
                        </a:rPr>
                        <a:t>Repower</a:t>
                      </a:r>
                      <a:r>
                        <a:rPr lang="da-DK" sz="1100" kern="100" dirty="0">
                          <a:effectLst/>
                        </a:rPr>
                        <a:t> 10 stk. V162</a:t>
                      </a:r>
                      <a:endParaRPr lang="en-DK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 marL="9525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100" kern="100" dirty="0">
                          <a:effectLst/>
                        </a:rPr>
                        <a:t>180 m</a:t>
                      </a:r>
                    </a:p>
                    <a:p>
                      <a:pPr marL="95250" marR="0" lvl="0" indent="0" algn="l" defTabSz="914400" rtl="0" eaLnBrk="1" fontAlgn="auto" latinLnBrk="0" hangingPunct="1">
                        <a:lnSpc>
                          <a:spcPct val="107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1100" kern="100" dirty="0">
                          <a:effectLst/>
                        </a:rPr>
                        <a:t>180 m</a:t>
                      </a:r>
                      <a:endParaRPr lang="en-DK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>
                          <a:effectLst/>
                        </a:rPr>
                        <a:t>7,2MW</a:t>
                      </a:r>
                      <a:endParaRPr lang="en-DK" sz="1100" kern="100">
                        <a:effectLst/>
                      </a:endParaRP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>
                          <a:effectLst/>
                        </a:rPr>
                        <a:t>7,2MW</a:t>
                      </a:r>
                      <a:endParaRPr lang="en-DK" sz="1100" kern="1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da-DK" sz="1100" kern="100" dirty="0">
                          <a:effectLst/>
                        </a:rPr>
                        <a:t> 314.000 MWh</a:t>
                      </a:r>
                      <a:endParaRPr lang="en-DK" sz="1100" kern="1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1410521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4147861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slidenummer 2">
            <a:extLst>
              <a:ext uri="{FF2B5EF4-FFF2-40B4-BE49-F238E27FC236}">
                <a16:creationId xmlns:a16="http://schemas.microsoft.com/office/drawing/2014/main" id="{CC382A05-0D1D-42FA-8C9B-B433AD34A80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1673A4-D707-475A-BF47-C05C70FAC46A}" type="slidenum">
              <a:rPr kumimoji="0" lang="en-GB" sz="1100" b="0" i="0" u="none" strike="noStrike" kern="1200" cap="none" spc="0" normalizeH="0" baseline="0" noProof="0" smtClean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GB" sz="1100" b="0" i="0" u="none" strike="noStrike" kern="1200" cap="none" spc="0" normalizeH="0" baseline="0" noProof="0">
              <a:ln>
                <a:noFill/>
              </a:ln>
              <a:solidFill>
                <a:srgbClr val="041E42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FEEC31E-6DA6-E601-2F25-8C375958C9B2}"/>
              </a:ext>
            </a:extLst>
          </p:cNvPr>
          <p:cNvSpPr txBox="1"/>
          <p:nvPr/>
        </p:nvSpPr>
        <p:spPr>
          <a:xfrm>
            <a:off x="335360" y="332656"/>
            <a:ext cx="11568608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3200">
                <a:solidFill>
                  <a:srgbClr val="041E42"/>
                </a:solidFill>
                <a:latin typeface="Century Gothic" panose="020F0302020204030204"/>
              </a:rPr>
              <a:t>30</a:t>
            </a:r>
            <a:r>
              <a:rPr kumimoji="0" lang="da-DK" sz="3200" b="0" i="0" u="none" strike="noStrike" kern="1200" cap="none" spc="0" normalizeH="0" baseline="0" noProof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meter højere møller giver +</a:t>
            </a:r>
            <a:r>
              <a:rPr lang="da-DK" sz="3200">
                <a:solidFill>
                  <a:srgbClr val="041E42"/>
                </a:solidFill>
                <a:latin typeface="Century Gothic" panose="020F0302020204030204"/>
              </a:rPr>
              <a:t>54</a:t>
            </a:r>
            <a:r>
              <a:rPr kumimoji="0" lang="da-DK" sz="3200" b="0" i="0" u="none" strike="noStrike" kern="1200" cap="none" spc="0" normalizeH="0" baseline="0" noProof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% produktion</a:t>
            </a:r>
          </a:p>
        </p:txBody>
      </p:sp>
      <p:pic>
        <p:nvPicPr>
          <p:cNvPr id="8" name="Picture 7" descr="Chart&#10;&#10;Description automatically generated">
            <a:extLst>
              <a:ext uri="{FF2B5EF4-FFF2-40B4-BE49-F238E27FC236}">
                <a16:creationId xmlns:a16="http://schemas.microsoft.com/office/drawing/2014/main" id="{936440C8-DF3F-A2F5-897A-053CFEE4EC2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167448" y="1981184"/>
            <a:ext cx="2799921" cy="3787708"/>
          </a:xfrm>
          <a:prstGeom prst="rect">
            <a:avLst/>
          </a:prstGeom>
        </p:spPr>
      </p:pic>
      <p:graphicFrame>
        <p:nvGraphicFramePr>
          <p:cNvPr id="15" name="Chart 14">
            <a:extLst>
              <a:ext uri="{FF2B5EF4-FFF2-40B4-BE49-F238E27FC236}">
                <a16:creationId xmlns:a16="http://schemas.microsoft.com/office/drawing/2014/main" id="{2394B5EE-8CFC-8581-B771-F4988658BF7D}"/>
              </a:ext>
            </a:extLst>
          </p:cNvPr>
          <p:cNvGraphicFramePr/>
          <p:nvPr/>
        </p:nvGraphicFramePr>
        <p:xfrm>
          <a:off x="519376" y="476672"/>
          <a:ext cx="648072" cy="532429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  <p:pic>
        <p:nvPicPr>
          <p:cNvPr id="16" name="Picture 15" descr="Chart&#10;&#10;Description automatically generated">
            <a:extLst>
              <a:ext uri="{FF2B5EF4-FFF2-40B4-BE49-F238E27FC236}">
                <a16:creationId xmlns:a16="http://schemas.microsoft.com/office/drawing/2014/main" id="{D38A80A0-9B80-1443-7DD5-547CDD7D45DC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35687" y="1004571"/>
            <a:ext cx="4023360" cy="4790209"/>
          </a:xfrm>
          <a:prstGeom prst="rect">
            <a:avLst/>
          </a:prstGeom>
        </p:spPr>
      </p:pic>
      <p:sp>
        <p:nvSpPr>
          <p:cNvPr id="17" name="Oval 16">
            <a:extLst>
              <a:ext uri="{FF2B5EF4-FFF2-40B4-BE49-F238E27FC236}">
                <a16:creationId xmlns:a16="http://schemas.microsoft.com/office/drawing/2014/main" id="{4C70BEC2-D752-751E-D0E4-9BFC722F1371}"/>
              </a:ext>
            </a:extLst>
          </p:cNvPr>
          <p:cNvSpPr/>
          <p:nvPr/>
        </p:nvSpPr>
        <p:spPr>
          <a:xfrm>
            <a:off x="3903752" y="2949157"/>
            <a:ext cx="1440160" cy="144016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rodukton</a:t>
            </a: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:</a:t>
            </a:r>
            <a:b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</a:b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3 </a:t>
            </a:r>
            <a:r>
              <a:rPr kumimoji="0" lang="da-DK" sz="1200" b="0" i="0" u="none" strike="noStrike" kern="1200" cap="none" spc="0" normalizeH="0" baseline="0" noProof="0" dirty="0" err="1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GWh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8" name="Oval 17">
            <a:extLst>
              <a:ext uri="{FF2B5EF4-FFF2-40B4-BE49-F238E27FC236}">
                <a16:creationId xmlns:a16="http://schemas.microsoft.com/office/drawing/2014/main" id="{1FBFE419-0280-C87E-D091-6069747A5163}"/>
              </a:ext>
            </a:extLst>
          </p:cNvPr>
          <p:cNvSpPr/>
          <p:nvPr/>
        </p:nvSpPr>
        <p:spPr>
          <a:xfrm>
            <a:off x="5704216" y="2422028"/>
            <a:ext cx="2376000" cy="2376000"/>
          </a:xfrm>
          <a:prstGeom prst="ellipse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40" tIns="45720" rIns="91440" bIns="4572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Produktion:</a:t>
            </a:r>
            <a:br>
              <a:rPr lang="da-DK" sz="1200" b="0" i="0" u="none" strike="noStrike" kern="1200" cap="none" spc="0" normalizeH="0" baseline="0" noProof="0" dirty="0">
                <a:ln>
                  <a:noFill/>
                </a:ln>
                <a:effectLst/>
                <a:uLnTx/>
                <a:uFillTx/>
                <a:latin typeface="Century Gothic" panose="020F0302020204030204"/>
              </a:rPr>
            </a:br>
            <a:r>
              <a:rPr lang="da-DK" sz="12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F0302020204030204"/>
              </a:rPr>
              <a:t>20GW</a:t>
            </a:r>
            <a:r>
              <a:rPr lang="da-DK" sz="1200" dirty="0">
                <a:solidFill>
                  <a:prstClr val="white"/>
                </a:solidFill>
                <a:latin typeface="Century Gothic" panose="020F0302020204030204"/>
              </a:rPr>
              <a:t>h</a:t>
            </a:r>
            <a:endParaRPr kumimoji="0" lang="da-DK" sz="12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19" name="Rectangle 18">
            <a:extLst>
              <a:ext uri="{FF2B5EF4-FFF2-40B4-BE49-F238E27FC236}">
                <a16:creationId xmlns:a16="http://schemas.microsoft.com/office/drawing/2014/main" id="{F438B8A7-84D5-FA1D-CA91-F2F6740417BE}"/>
              </a:ext>
            </a:extLst>
          </p:cNvPr>
          <p:cNvSpPr/>
          <p:nvPr/>
        </p:nvSpPr>
        <p:spPr>
          <a:xfrm>
            <a:off x="8276387" y="5794780"/>
            <a:ext cx="1008112" cy="3144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0" name="Rectangle 19">
            <a:extLst>
              <a:ext uri="{FF2B5EF4-FFF2-40B4-BE49-F238E27FC236}">
                <a16:creationId xmlns:a16="http://schemas.microsoft.com/office/drawing/2014/main" id="{759B8523-7C0B-B45D-4038-1560A07A48D0}"/>
              </a:ext>
            </a:extLst>
          </p:cNvPr>
          <p:cNvSpPr/>
          <p:nvPr/>
        </p:nvSpPr>
        <p:spPr>
          <a:xfrm>
            <a:off x="1311464" y="5743857"/>
            <a:ext cx="1008112" cy="3144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DFEEBABF-7DA5-6B1C-D8ED-E07AB5306821}"/>
              </a:ext>
            </a:extLst>
          </p:cNvPr>
          <p:cNvSpPr/>
          <p:nvPr/>
        </p:nvSpPr>
        <p:spPr>
          <a:xfrm>
            <a:off x="8334074" y="2821754"/>
            <a:ext cx="1008112" cy="504056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7E2B7055-149B-1253-5508-8EF5A1915811}"/>
              </a:ext>
            </a:extLst>
          </p:cNvPr>
          <p:cNvSpPr/>
          <p:nvPr/>
        </p:nvSpPr>
        <p:spPr>
          <a:xfrm>
            <a:off x="1311464" y="3452807"/>
            <a:ext cx="864096" cy="31444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3" name="TextBox 22">
            <a:extLst>
              <a:ext uri="{FF2B5EF4-FFF2-40B4-BE49-F238E27FC236}">
                <a16:creationId xmlns:a16="http://schemas.microsoft.com/office/drawing/2014/main" id="{3A2415AB-69EC-5FD0-A6B8-1D05ED1C900F}"/>
              </a:ext>
            </a:extLst>
          </p:cNvPr>
          <p:cNvSpPr txBox="1"/>
          <p:nvPr/>
        </p:nvSpPr>
        <p:spPr>
          <a:xfrm>
            <a:off x="1687127" y="5757063"/>
            <a:ext cx="16696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32(6) meter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79E5FDCE-1E57-3D8F-0ABB-735822D10C42}"/>
              </a:ext>
            </a:extLst>
          </p:cNvPr>
          <p:cNvSpPr txBox="1"/>
          <p:nvPr/>
        </p:nvSpPr>
        <p:spPr>
          <a:xfrm>
            <a:off x="8975390" y="5768891"/>
            <a:ext cx="166969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0" i="0" u="none" strike="noStrike" kern="1200" cap="none" spc="0" normalizeH="0" baseline="0" noProof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62 meter</a:t>
            </a:r>
          </a:p>
        </p:txBody>
      </p:sp>
      <p:sp>
        <p:nvSpPr>
          <p:cNvPr id="25" name="TextBox 24">
            <a:extLst>
              <a:ext uri="{FF2B5EF4-FFF2-40B4-BE49-F238E27FC236}">
                <a16:creationId xmlns:a16="http://schemas.microsoft.com/office/drawing/2014/main" id="{0C64E7FD-751E-6D04-3247-95238FEA2E58}"/>
              </a:ext>
            </a:extLst>
          </p:cNvPr>
          <p:cNvSpPr txBox="1"/>
          <p:nvPr/>
        </p:nvSpPr>
        <p:spPr>
          <a:xfrm>
            <a:off x="1155176" y="1658017"/>
            <a:ext cx="273359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150 meter vindmøller (SG132/V136)</a:t>
            </a:r>
          </a:p>
        </p:txBody>
      </p:sp>
      <p:sp>
        <p:nvSpPr>
          <p:cNvPr id="26" name="TextBox 25">
            <a:extLst>
              <a:ext uri="{FF2B5EF4-FFF2-40B4-BE49-F238E27FC236}">
                <a16:creationId xmlns:a16="http://schemas.microsoft.com/office/drawing/2014/main" id="{1D7BD420-8AF8-BAC2-2576-AFE80AC0DBB3}"/>
              </a:ext>
            </a:extLst>
          </p:cNvPr>
          <p:cNvSpPr txBox="1"/>
          <p:nvPr/>
        </p:nvSpPr>
        <p:spPr>
          <a:xfrm>
            <a:off x="7983111" y="1042322"/>
            <a:ext cx="376336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>
                <a:solidFill>
                  <a:srgbClr val="041E42"/>
                </a:solidFill>
                <a:latin typeface="Century Gothic" panose="020F0302020204030204"/>
              </a:rPr>
              <a:t>Vestas V162</a:t>
            </a:r>
            <a:r>
              <a: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(</a:t>
            </a:r>
            <a:r>
              <a:rPr lang="da-DK">
                <a:solidFill>
                  <a:srgbClr val="041E42"/>
                </a:solidFill>
                <a:latin typeface="Century Gothic" panose="020F0302020204030204"/>
              </a:rPr>
              <a:t>180</a:t>
            </a:r>
            <a:r>
              <a:rPr kumimoji="0" lang="da-DK" sz="1800" b="0" i="0" u="none" strike="noStrike" kern="1200" cap="none" spc="0" normalizeH="0" baseline="0" noProof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)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1335F675-B42A-C5E7-F199-66646C7710AE}"/>
              </a:ext>
            </a:extLst>
          </p:cNvPr>
          <p:cNvSpPr txBox="1"/>
          <p:nvPr/>
        </p:nvSpPr>
        <p:spPr>
          <a:xfrm>
            <a:off x="4075599" y="5425448"/>
            <a:ext cx="388843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En </a:t>
            </a:r>
            <a:r>
              <a:rPr lang="da-DK" sz="1400" dirty="0">
                <a:solidFill>
                  <a:srgbClr val="041E42"/>
                </a:solidFill>
                <a:latin typeface="Century Gothic" panose="020F0302020204030204"/>
              </a:rPr>
              <a:t>180 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m mølle produktion 7 </a:t>
            </a:r>
            <a:r>
              <a:rPr kumimoji="0" lang="da-DK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GWh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 mere end en 150 m mølle, svarende til cirka </a:t>
            </a:r>
            <a:r>
              <a:rPr lang="da-DK" sz="1400" dirty="0">
                <a:solidFill>
                  <a:srgbClr val="041E42"/>
                </a:solidFill>
                <a:latin typeface="Century Gothic" panose="020F0302020204030204"/>
              </a:rPr>
              <a:t>1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041E42"/>
                </a:solidFill>
                <a:effectLst/>
                <a:uLnTx/>
                <a:uFillTx/>
                <a:latin typeface="Century Gothic" panose="020F0302020204030204"/>
                <a:ea typeface="+mn-ea"/>
                <a:cs typeface="+mn-cs"/>
              </a:rPr>
              <a:t>.555 husstandes årlige forbrug</a:t>
            </a:r>
          </a:p>
        </p:txBody>
      </p:sp>
      <p:sp>
        <p:nvSpPr>
          <p:cNvPr id="28" name="Arrow: Right 27">
            <a:extLst>
              <a:ext uri="{FF2B5EF4-FFF2-40B4-BE49-F238E27FC236}">
                <a16:creationId xmlns:a16="http://schemas.microsoft.com/office/drawing/2014/main" id="{D7038BCF-E388-E4BF-0D8B-48738706D103}"/>
              </a:ext>
            </a:extLst>
          </p:cNvPr>
          <p:cNvSpPr/>
          <p:nvPr/>
        </p:nvSpPr>
        <p:spPr>
          <a:xfrm>
            <a:off x="3249092" y="3736413"/>
            <a:ext cx="576064" cy="481884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sp>
        <p:nvSpPr>
          <p:cNvPr id="29" name="Arrow: Right 28">
            <a:extLst>
              <a:ext uri="{FF2B5EF4-FFF2-40B4-BE49-F238E27FC236}">
                <a16:creationId xmlns:a16="http://schemas.microsoft.com/office/drawing/2014/main" id="{EF74779E-32ED-3892-51FE-EB395DB32B12}"/>
              </a:ext>
            </a:extLst>
          </p:cNvPr>
          <p:cNvSpPr/>
          <p:nvPr/>
        </p:nvSpPr>
        <p:spPr>
          <a:xfrm rot="10800000">
            <a:off x="8334074" y="3736413"/>
            <a:ext cx="576064" cy="481884"/>
          </a:xfrm>
          <a:prstGeom prst="rightArrow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F0302020204030204"/>
              <a:ea typeface="+mn-ea"/>
              <a:cs typeface="+mn-cs"/>
            </a:endParaRPr>
          </a:p>
        </p:txBody>
      </p:sp>
      <p:pic>
        <p:nvPicPr>
          <p:cNvPr id="2" name="Picture 2">
            <a:extLst>
              <a:ext uri="{FF2B5EF4-FFF2-40B4-BE49-F238E27FC236}">
                <a16:creationId xmlns:a16="http://schemas.microsoft.com/office/drawing/2014/main" id="{7B52DF5E-29AE-9147-F945-649372FEE21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272464" y="260648"/>
            <a:ext cx="971548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3680022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E74E1344-C6E1-A6DA-C7A1-51358E57C2A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380" y="1051160"/>
            <a:ext cx="4063936" cy="505632"/>
          </a:xfrm>
        </p:spPr>
        <p:txBody>
          <a:bodyPr/>
          <a:lstStyle/>
          <a:p>
            <a:r>
              <a:rPr lang="da-DK" sz="3200"/>
              <a:t>Solcelleanlægget</a:t>
            </a:r>
          </a:p>
        </p:txBody>
      </p:sp>
      <p:sp>
        <p:nvSpPr>
          <p:cNvPr id="4" name="Pladsholder til slidenummer 3">
            <a:extLst>
              <a:ext uri="{FF2B5EF4-FFF2-40B4-BE49-F238E27FC236}">
                <a16:creationId xmlns:a16="http://schemas.microsoft.com/office/drawing/2014/main" id="{6C599C20-192A-A695-A6CE-2D7B4CCB084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11673A4-D707-475A-BF47-C05C70FAC46A}" type="slidenum">
              <a:rPr lang="en-GB" smtClean="0"/>
              <a:pPr/>
              <a:t>7</a:t>
            </a:fld>
            <a:endParaRPr lang="en-GB"/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7DFA6826-BFF6-FF38-88A0-944146C6993C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rot="5400000">
            <a:off x="5777865" y="318135"/>
            <a:ext cx="6858000" cy="6221730"/>
          </a:xfrm>
          <a:prstGeom prst="rect">
            <a:avLst/>
          </a:prstGeom>
        </p:spPr>
      </p:pic>
      <p:sp>
        <p:nvSpPr>
          <p:cNvPr id="3" name="Pladsholder til tekst 2">
            <a:extLst>
              <a:ext uri="{FF2B5EF4-FFF2-40B4-BE49-F238E27FC236}">
                <a16:creationId xmlns:a16="http://schemas.microsoft.com/office/drawing/2014/main" id="{D7734D5D-75D7-8F78-1FEA-85B8332E707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15380" y="1792452"/>
            <a:ext cx="5070080" cy="3273095"/>
          </a:xfrm>
        </p:spPr>
        <p:txBody>
          <a:bodyPr>
            <a:normAutofit fontScale="92500" lnSpcReduction="20000"/>
          </a:bodyPr>
          <a:lstStyle/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600" dirty="0">
                <a:latin typeface="Century Gothic" panose="020B0502020202020204" pitchFamily="34" charset="0"/>
                <a:ea typeface="Calibri" panose="020F0502020204030204" pitchFamily="34" charset="0"/>
                <a:cs typeface="CenturyGothic-Bold"/>
              </a:rPr>
              <a:t>Bruttoareal på ca. 850 ha.</a:t>
            </a:r>
          </a:p>
          <a:p>
            <a:pPr marL="702900" lvl="1" indent="-342900"/>
            <a:r>
              <a:rPr lang="da-DK" sz="1600" dirty="0">
                <a:latin typeface="Century Gothic" panose="020B0502020202020204" pitchFamily="34" charset="0"/>
                <a:ea typeface="Calibri" panose="020F0502020204030204" pitchFamily="34" charset="0"/>
                <a:cs typeface="CenturyGothic-Bold"/>
              </a:rPr>
              <a:t>Areal udgår til s</a:t>
            </a:r>
            <a:r>
              <a:rPr lang="da-DK" sz="160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enturyGothic-Bold"/>
              </a:rPr>
              <a:t>angsvaner</a:t>
            </a:r>
            <a:endParaRPr lang="da-DK" sz="1600" dirty="0">
              <a:latin typeface="Century Gothic" panose="020B0502020202020204" pitchFamily="34" charset="0"/>
              <a:ea typeface="Calibri" panose="020F0502020204030204" pitchFamily="34" charset="0"/>
              <a:cs typeface="CenturyGothic-Bold"/>
            </a:endParaRPr>
          </a:p>
          <a:p>
            <a:pPr marL="702900" lvl="1" indent="-342900"/>
            <a:r>
              <a:rPr lang="da-DK" sz="160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enturyGothic-Bold"/>
              </a:rPr>
              <a:t>Areal udgår til natu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sz="1600" dirty="0">
              <a:latin typeface="Century Gothic" panose="020B0502020202020204" pitchFamily="34" charset="0"/>
              <a:ea typeface="Calibri" panose="020F0502020204030204" pitchFamily="34" charset="0"/>
              <a:cs typeface="CenturyGothic-Bold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600" dirty="0">
                <a:latin typeface="Century Gothic" panose="020B0502020202020204" pitchFamily="34" charset="0"/>
                <a:ea typeface="Calibri" panose="020F0502020204030204" pitchFamily="34" charset="0"/>
                <a:cs typeface="CenturyGothic-Bold"/>
              </a:rPr>
              <a:t>Forventet produktion: 833.000 MWh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sz="1600" dirty="0">
              <a:latin typeface="Century Gothic" panose="020B0502020202020204" pitchFamily="34" charset="0"/>
              <a:ea typeface="Calibri" panose="020F0502020204030204" pitchFamily="34" charset="0"/>
              <a:cs typeface="CenturyGothic-Bold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600" dirty="0">
                <a:effectLst/>
                <a:latin typeface="Century Gothic" panose="020B0502020202020204" pitchFamily="34" charset="0"/>
                <a:ea typeface="Calibri" panose="020F0502020204030204" pitchFamily="34" charset="0"/>
                <a:cs typeface="CenturyGothic-Bold"/>
              </a:rPr>
              <a:t>Solpaneler fastgjort på en akse, der følger solens bane hen over dagen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sz="1600" dirty="0">
              <a:latin typeface="Century Gothic" panose="020B0502020202020204" pitchFamily="34" charset="0"/>
              <a:ea typeface="Calibri" panose="020F0502020204030204" pitchFamily="34" charset="0"/>
            </a:endParaRPr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600" dirty="0"/>
              <a:t>Maksimal højde på 4,5 meter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600" dirty="0"/>
              <a:t>Der skal etableres beplantning og overvågning omkring solcelleanlægget</a:t>
            </a:r>
          </a:p>
          <a:p>
            <a:pPr marL="342900" indent="-342900">
              <a:buFont typeface="Arial" panose="020B0604020202020204" pitchFamily="34" charset="0"/>
              <a:buChar char="•"/>
            </a:pPr>
            <a:endParaRPr lang="da-DK" sz="16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da-DK" sz="1600" dirty="0"/>
              <a:t>Der plantes egnstypiske og hjemmehørende arter, så beplantningen ikke virker fremmed i landskabet</a:t>
            </a:r>
          </a:p>
        </p:txBody>
      </p:sp>
      <p:pic>
        <p:nvPicPr>
          <p:cNvPr id="9" name="Picture 2">
            <a:extLst>
              <a:ext uri="{FF2B5EF4-FFF2-40B4-BE49-F238E27FC236}">
                <a16:creationId xmlns:a16="http://schemas.microsoft.com/office/drawing/2014/main" id="{B25BC289-4DAA-6385-9889-BEDA449EA32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20536" y="188640"/>
            <a:ext cx="971548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7" name="Picture 2">
            <a:extLst>
              <a:ext uri="{FF2B5EF4-FFF2-40B4-BE49-F238E27FC236}">
                <a16:creationId xmlns:a16="http://schemas.microsoft.com/office/drawing/2014/main" id="{4440D75A-5842-6671-D243-BC3E1D45E68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5938" y="210036"/>
            <a:ext cx="971548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8" name="Billede 7">
            <a:extLst>
              <a:ext uri="{FF2B5EF4-FFF2-40B4-BE49-F238E27FC236}">
                <a16:creationId xmlns:a16="http://schemas.microsoft.com/office/drawing/2014/main" id="{E17215F3-C7B1-F14B-12E1-6C07BA32640D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2927648" y="5045588"/>
            <a:ext cx="2227837" cy="1132959"/>
          </a:xfrm>
          <a:prstGeom prst="rect">
            <a:avLst/>
          </a:prstGeom>
        </p:spPr>
      </p:pic>
      <p:pic>
        <p:nvPicPr>
          <p:cNvPr id="5" name="Billede 4">
            <a:extLst>
              <a:ext uri="{FF2B5EF4-FFF2-40B4-BE49-F238E27FC236}">
                <a16:creationId xmlns:a16="http://schemas.microsoft.com/office/drawing/2014/main" id="{9AD67E48-3968-4D3B-85F7-04DC514C815E}"/>
              </a:ext>
            </a:extLst>
          </p:cNvPr>
          <p:cNvPicPr>
            <a:picLocks noChangeAspect="1"/>
          </p:cNvPicPr>
          <p:nvPr/>
        </p:nvPicPr>
        <p:blipFill rotWithShape="1"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1"/>
          <a:stretch/>
        </p:blipFill>
        <p:spPr>
          <a:xfrm>
            <a:off x="911423" y="5045588"/>
            <a:ext cx="2025762" cy="11329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7420232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4F0FEEAF-2035-A217-122C-4A16802391B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14734CDA-1377-32BE-13D0-E8630B563ED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49301" y="1700808"/>
            <a:ext cx="5184576" cy="1007766"/>
          </a:xfrm>
        </p:spPr>
        <p:txBody>
          <a:bodyPr/>
          <a:lstStyle/>
          <a:p>
            <a:r>
              <a:rPr lang="da-DK" sz="3600"/>
              <a:t>Tilslutning af solceller</a:t>
            </a:r>
            <a:endParaRPr lang="en-DK" sz="360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655FB234-09BD-F81D-C64B-21B76AFCCE2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3392" y="2996952"/>
            <a:ext cx="4464496" cy="3098467"/>
          </a:xfrm>
        </p:spPr>
        <p:txBody>
          <a:bodyPr>
            <a:norm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/>
              <a:t>Den eksisterende nettilslutning muliggør at vi allerede nu kunne tilsluttes 2-300 ha solcellepark via de allerede eksisterende 3 net-tilslutningspunkter.</a:t>
            </a:r>
          </a:p>
          <a:p>
            <a:endParaRPr lang="da-DK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/>
              <a:t>Det præcise tal vil afhænge af en dialog med N1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6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600" dirty="0"/>
              <a:t>Solareal opdeles i områder på omkring 50 ha.</a:t>
            </a:r>
          </a:p>
        </p:txBody>
      </p:sp>
      <p:pic>
        <p:nvPicPr>
          <p:cNvPr id="7" name="Pladsholder til indhold 6">
            <a:extLst>
              <a:ext uri="{FF2B5EF4-FFF2-40B4-BE49-F238E27FC236}">
                <a16:creationId xmlns:a16="http://schemas.microsoft.com/office/drawing/2014/main" id="{A49576AD-CC03-9DB5-1BBC-C47AE64A92F0}"/>
              </a:ext>
            </a:extLst>
          </p:cNvPr>
          <p:cNvPicPr>
            <a:picLocks noGrp="1" noChangeAspect="1"/>
          </p:cNvPicPr>
          <p:nvPr>
            <p:ph sz="quarter" idx="14"/>
          </p:nvPr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119"/>
          <a:stretch/>
        </p:blipFill>
        <p:spPr>
          <a:xfrm>
            <a:off x="6845300" y="6190"/>
            <a:ext cx="5338764" cy="6851809"/>
          </a:xfrm>
        </p:spPr>
      </p:pic>
      <p:pic>
        <p:nvPicPr>
          <p:cNvPr id="9" name="Picture 2">
            <a:extLst>
              <a:ext uri="{FF2B5EF4-FFF2-40B4-BE49-F238E27FC236}">
                <a16:creationId xmlns:a16="http://schemas.microsoft.com/office/drawing/2014/main" id="{2E46C442-4ACA-9E55-C3D0-DB391F25620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15938" y="210036"/>
            <a:ext cx="971548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83747388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>
          <a:extLst>
            <a:ext uri="{FF2B5EF4-FFF2-40B4-BE49-F238E27FC236}">
              <a16:creationId xmlns:a16="http://schemas.microsoft.com/office/drawing/2014/main" id="{21FCBDC4-F94E-427A-3D41-FFEAB7C0B66F}"/>
            </a:ext>
          </a:extLst>
        </p:cNvPr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el 2">
            <a:extLst>
              <a:ext uri="{FF2B5EF4-FFF2-40B4-BE49-F238E27FC236}">
                <a16:creationId xmlns:a16="http://schemas.microsoft.com/office/drawing/2014/main" id="{9B3F086D-0560-8D3E-F6F8-203F5DE50BB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6755" y="834415"/>
            <a:ext cx="5075238" cy="719733"/>
          </a:xfrm>
        </p:spPr>
        <p:txBody>
          <a:bodyPr/>
          <a:lstStyle/>
          <a:p>
            <a:r>
              <a:rPr lang="da-DK" sz="3600"/>
              <a:t>Batterianlæg</a:t>
            </a:r>
            <a:endParaRPr lang="en-DK" sz="3600"/>
          </a:p>
        </p:txBody>
      </p:sp>
      <p:sp>
        <p:nvSpPr>
          <p:cNvPr id="4" name="Pladsholder til tekst 3">
            <a:extLst>
              <a:ext uri="{FF2B5EF4-FFF2-40B4-BE49-F238E27FC236}">
                <a16:creationId xmlns:a16="http://schemas.microsoft.com/office/drawing/2014/main" id="{3F18A340-340A-FC09-FA65-253989C90D6A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09877" y="1916832"/>
            <a:ext cx="4787974" cy="3746886"/>
          </a:xfrm>
        </p:spPr>
        <p:txBody>
          <a:bodyPr>
            <a:normAutofit/>
          </a:bodyPr>
          <a:lstStyle/>
          <a:p>
            <a:r>
              <a:rPr lang="da-DK" sz="1400" dirty="0"/>
              <a:t>Vi ønsker at have mulighed for at opstille batterier.</a:t>
            </a:r>
          </a:p>
          <a:p>
            <a:endParaRPr lang="da-DK" sz="1400" dirty="0"/>
          </a:p>
          <a:p>
            <a:r>
              <a:rPr lang="da-DK" sz="1400" dirty="0"/>
              <a:t>Opsætning af batterierne har to formål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/>
              <a:t>Udligne elproduktionen, f.eks. fra midt på dagen, og sende strøm fra batterierne på nettet om f.eks. natten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da-DK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da-DK" sz="1400" dirty="0"/>
              <a:t>Balancering af elnettet. </a:t>
            </a:r>
          </a:p>
          <a:p>
            <a:endParaRPr lang="da-DK" sz="1400" dirty="0"/>
          </a:p>
          <a:p>
            <a:r>
              <a:rPr lang="da-DK" sz="1400" dirty="0"/>
              <a:t>Batterierne forventes til dette formål at kunne lagre op til 4 timer af parkens produktion.</a:t>
            </a:r>
          </a:p>
          <a:p>
            <a:endParaRPr lang="da-DK" sz="1400" dirty="0"/>
          </a:p>
          <a:p>
            <a:r>
              <a:rPr lang="da-DK" sz="1400" dirty="0"/>
              <a:t>Batterianlægget forventes at fylde op til 10 ha.</a:t>
            </a:r>
          </a:p>
          <a:p>
            <a:endParaRPr lang="en-DK" sz="1400" dirty="0"/>
          </a:p>
        </p:txBody>
      </p:sp>
      <p:pic>
        <p:nvPicPr>
          <p:cNvPr id="1026" name="Picture 2">
            <a:extLst>
              <a:ext uri="{FF2B5EF4-FFF2-40B4-BE49-F238E27FC236}">
                <a16:creationId xmlns:a16="http://schemas.microsoft.com/office/drawing/2014/main" id="{20B9F41F-E5AC-4633-C2FD-9A267817641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5961" y="-5589"/>
            <a:ext cx="6464034" cy="68776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Et billede, der indeholder sky, udendørs, trailer, træ&#10;&#10;Automatisk genereret beskrivelse">
            <a:extLst>
              <a:ext uri="{FF2B5EF4-FFF2-40B4-BE49-F238E27FC236}">
                <a16:creationId xmlns:a16="http://schemas.microsoft.com/office/drawing/2014/main" id="{E1417AAD-957C-3FC6-0971-B7169C87AED0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735961" y="4687898"/>
            <a:ext cx="3959240" cy="21841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" name="Picture 2">
            <a:extLst>
              <a:ext uri="{FF2B5EF4-FFF2-40B4-BE49-F238E27FC236}">
                <a16:creationId xmlns:a16="http://schemas.microsoft.com/office/drawing/2014/main" id="{28EE1B81-C304-65A5-1DEE-E57E651F88A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 cstate="screen">
            <a:alphaModFix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920536" y="188640"/>
            <a:ext cx="971548" cy="5040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8653912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0">
        <p:cut/>
      </p:transition>
    </mc:Choice>
    <mc:Fallback xmlns="">
      <p:transition>
        <p:cut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EWE">
  <a:themeElements>
    <a:clrScheme name="EWE">
      <a:dk1>
        <a:srgbClr val="041E42"/>
      </a:dk1>
      <a:lt1>
        <a:sysClr val="window" lastClr="FFFFFF"/>
      </a:lt1>
      <a:dk2>
        <a:srgbClr val="024638"/>
      </a:dk2>
      <a:lt2>
        <a:srgbClr val="F3CFB3"/>
      </a:lt2>
      <a:accent1>
        <a:srgbClr val="041E42"/>
      </a:accent1>
      <a:accent2>
        <a:srgbClr val="ABCAE9"/>
      </a:accent2>
      <a:accent3>
        <a:srgbClr val="48D597"/>
      </a:accent3>
      <a:accent4>
        <a:srgbClr val="B46A55"/>
      </a:accent4>
      <a:accent5>
        <a:srgbClr val="E03E52"/>
      </a:accent5>
      <a:accent6>
        <a:srgbClr val="B5E3D8"/>
      </a:accent6>
      <a:hlink>
        <a:srgbClr val="000000"/>
      </a:hlink>
      <a:folHlink>
        <a:srgbClr val="000000"/>
      </a:folHlink>
    </a:clrScheme>
    <a:fontScheme name="Century Gothic">
      <a:maj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entury Gothic" panose="020F03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rtlCol="0" anchor="ctr"/>
      <a:lstStyle>
        <a:defPPr algn="ctr">
          <a:defRPr sz="1000" dirty="0" smtClean="0">
            <a:solidFill>
              <a:schemeClr val="bg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</a:objectDefaults>
  <a:extraClrSchemeLst/>
  <a:extLst>
    <a:ext uri="{05A4C25C-085E-4340-85A3-A5531E510DB2}">
      <thm15:themeFamily xmlns:thm15="http://schemas.microsoft.com/office/thememl/2012/main" name="Presentation2" id="{5B3C9228-0B58-4DD7-B157-85EFA664B80C}" vid="{733F8CA5-2139-4BAD-A9EE-3EE8C4654BB0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1893D73CDCAB0409146A9DD6FC7F9E2" ma:contentTypeVersion="13" ma:contentTypeDescription="Opret et nyt dokument." ma:contentTypeScope="" ma:versionID="94878f75f4d0d042e46ddfea05b8df2a">
  <xsd:schema xmlns:xsd="http://www.w3.org/2001/XMLSchema" xmlns:xs="http://www.w3.org/2001/XMLSchema" xmlns:p="http://schemas.microsoft.com/office/2006/metadata/properties" xmlns:ns2="64530ba5-72b0-4e14-811c-9ce78a8df2e9" xmlns:ns3="c38a3045-2b03-4eae-a6e4-f872fe652d1a" targetNamespace="http://schemas.microsoft.com/office/2006/metadata/properties" ma:root="true" ma:fieldsID="79128ce92ba8138094b4cef9f1d98cbc" ns2:_="" ns3:_="">
    <xsd:import namespace="64530ba5-72b0-4e14-811c-9ce78a8df2e9"/>
    <xsd:import namespace="c38a3045-2b03-4eae-a6e4-f872fe652d1a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SearchProperties" minOccurs="0"/>
                <xsd:element ref="ns2:MediaServiceDateTaken" minOccurs="0"/>
                <xsd:element ref="ns2:MediaServiceObjectDetectorVersions" minOccurs="0"/>
                <xsd:element ref="ns2:MediaServiceGenerationTime" minOccurs="0"/>
                <xsd:element ref="ns2:MediaServiceEventHashCode" minOccurs="0"/>
                <xsd:element ref="ns2:MediaLengthInSeconds" minOccurs="0"/>
                <xsd:element ref="ns2:MediaServiceLocation" minOccurs="0"/>
                <xsd:element ref="ns2:lcf76f155ced4ddcb4097134ff3c332f" minOccurs="0"/>
                <xsd:element ref="ns3:TaxCatchAll" minOccurs="0"/>
                <xsd:element ref="ns2:MediaServiceOCR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4530ba5-72b0-4e14-811c-9ce78a8df2e9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SearchProperties" ma:index="10" nillable="true" ma:displayName="MediaServiceSearchProperties" ma:hidden="true" ma:internalName="MediaServiceSearchProperties" ma:readOnly="true">
      <xsd:simpleType>
        <xsd:restriction base="dms:Note"/>
      </xsd:simpleType>
    </xsd:element>
    <xsd:element name="MediaServiceDateTaken" ma:index="11" nillable="true" ma:displayName="MediaServiceDateTaken" ma:hidden="true" ma:indexed="true" ma:internalName="MediaServiceDateTaken" ma:readOnly="true">
      <xsd:simpleType>
        <xsd:restriction base="dms:Text"/>
      </xsd:simpleType>
    </xsd:element>
    <xsd:element name="MediaServiceObjectDetectorVersions" ma:index="12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LengthInSeconds" ma:index="15" nillable="true" ma:displayName="MediaLengthInSeconds" ma:hidden="true" ma:internalName="MediaLengthInSeconds" ma:readOnly="true">
      <xsd:simpleType>
        <xsd:restriction base="dms:Unknown"/>
      </xsd:simpleType>
    </xsd:element>
    <xsd:element name="MediaServiceLocation" ma:index="16" nillable="true" ma:displayName="Location" ma:indexed="true" ma:internalName="MediaServiceLocation" ma:readOnly="true">
      <xsd:simpleType>
        <xsd:restriction base="dms:Text"/>
      </xsd:simpleType>
    </xsd:element>
    <xsd:element name="lcf76f155ced4ddcb4097134ff3c332f" ma:index="18" nillable="true" ma:taxonomy="true" ma:internalName="lcf76f155ced4ddcb4097134ff3c332f" ma:taxonomyFieldName="MediaServiceImageTags" ma:displayName="Billedmærker" ma:readOnly="false" ma:fieldId="{5cf76f15-5ced-4ddc-b409-7134ff3c332f}" ma:taxonomyMulti="true" ma:sspId="a9743c01-16b1-4a65-be9b-78eb010510d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CR" ma:index="20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38a3045-2b03-4eae-a6e4-f872fe652d1a" elementFormDefault="qualified">
    <xsd:import namespace="http://schemas.microsoft.com/office/2006/documentManagement/types"/>
    <xsd:import namespace="http://schemas.microsoft.com/office/infopath/2007/PartnerControls"/>
    <xsd:element name="TaxCatchAll" ma:index="19" nillable="true" ma:displayName="Taxonomy Catch All Column" ma:hidden="true" ma:list="{140e4dc7-b14b-40d0-b4c7-c4cc022e2b1f}" ma:internalName="TaxCatchAll" ma:showField="CatchAllData" ma:web="c38a3045-2b03-4eae-a6e4-f872fe652d1a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c38a3045-2b03-4eae-a6e4-f872fe652d1a" xsi:nil="true"/>
    <lcf76f155ced4ddcb4097134ff3c332f xmlns="64530ba5-72b0-4e14-811c-9ce78a8df2e9">
      <Terms xmlns="http://schemas.microsoft.com/office/infopath/2007/PartnerControls"/>
    </lcf76f155ced4ddcb4097134ff3c332f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E1E636D1-FDA6-4D2F-9FAD-C40E24DC60CA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64530ba5-72b0-4e14-811c-9ce78a8df2e9"/>
    <ds:schemaRef ds:uri="c38a3045-2b03-4eae-a6e4-f872fe652d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4E79994-C1ED-400C-801D-4F42A9D185C3}">
  <ds:schemaRefs>
    <ds:schemaRef ds:uri="255010dd-b8c6-491f-b283-d393de595af1"/>
    <ds:schemaRef ds:uri="http://www.w3.org/XML/1998/namespace"/>
    <ds:schemaRef ds:uri="http://schemas.microsoft.com/office/2006/metadata/properties"/>
    <ds:schemaRef ds:uri="http://schemas.microsoft.com/office/infopath/2007/PartnerControls"/>
    <ds:schemaRef ds:uri="http://purl.org/dc/terms/"/>
    <ds:schemaRef ds:uri="bcdf29a4-ee66-40a4-ad1f-1719fd5ce9e1"/>
    <ds:schemaRef ds:uri="http://purl.org/dc/elements/1.1/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c38a3045-2b03-4eae-a6e4-f872fe652d1a"/>
    <ds:schemaRef ds:uri="64530ba5-72b0-4e14-811c-9ce78a8df2e9"/>
  </ds:schemaRefs>
</ds:datastoreItem>
</file>

<file path=customXml/itemProps3.xml><?xml version="1.0" encoding="utf-8"?>
<ds:datastoreItem xmlns:ds="http://schemas.openxmlformats.org/officeDocument/2006/customXml" ds:itemID="{DE7A084D-DBE1-4E14-976D-485DE6760DF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EWE-PPT</Template>
  <TotalTime>0</TotalTime>
  <Words>1019</Words>
  <Application>Microsoft Office PowerPoint</Application>
  <PresentationFormat>Widescreen</PresentationFormat>
  <Paragraphs>184</Paragraphs>
  <Slides>13</Slides>
  <Notes>5</Notes>
  <HiddenSlides>0</HiddenSlides>
  <MMClips>0</MMClips>
  <ScaleCrop>false</ScaleCrop>
  <HeadingPairs>
    <vt:vector size="4" baseType="variant">
      <vt:variant>
        <vt:lpstr>Theme</vt:lpstr>
      </vt:variant>
      <vt:variant>
        <vt:i4>1</vt:i4>
      </vt:variant>
      <vt:variant>
        <vt:lpstr>Slide Titles</vt:lpstr>
      </vt:variant>
      <vt:variant>
        <vt:i4>13</vt:i4>
      </vt:variant>
    </vt:vector>
  </HeadingPairs>
  <TitlesOfParts>
    <vt:vector size="14" baseType="lpstr">
      <vt:lpstr>EWE</vt:lpstr>
      <vt:lpstr>PowerPoint Presentation</vt:lpstr>
      <vt:lpstr>Project Blue Partnerskab mellem Wind Estate og Eurowind Energy</vt:lpstr>
      <vt:lpstr>PowerPoint Presentation</vt:lpstr>
      <vt:lpstr>PowerPoint Presentation</vt:lpstr>
      <vt:lpstr>Repowering af møllerne i Overgaard</vt:lpstr>
      <vt:lpstr>PowerPoint Presentation</vt:lpstr>
      <vt:lpstr>Solcelleanlægget</vt:lpstr>
      <vt:lpstr>Tilslutning af solceller</vt:lpstr>
      <vt:lpstr>Batterianlæg</vt:lpstr>
      <vt:lpstr>PowerPoint Presentation</vt:lpstr>
      <vt:lpstr>VE-lovens ordninger</vt:lpstr>
      <vt:lpstr>Årlig udbetaling til lokalområdet</vt:lpstr>
      <vt:lpstr>Ny fordebat?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creator>Gustav Damsgaard Ebbesen</dc:creator>
  <cp:lastModifiedBy>Anders Jensen</cp:lastModifiedBy>
  <cp:revision>17</cp:revision>
  <dcterms:created xsi:type="dcterms:W3CDTF">2024-11-25T08:22:05Z</dcterms:created>
  <dcterms:modified xsi:type="dcterms:W3CDTF">2025-05-16T07:34:1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ediaServiceImageTags">
    <vt:lpwstr/>
  </property>
  <property fmtid="{D5CDD505-2E9C-101B-9397-08002B2CF9AE}" pid="3" name="ContentTypeId">
    <vt:lpwstr>0x01010001893D73CDCAB0409146A9DD6FC7F9E2</vt:lpwstr>
  </property>
</Properties>
</file>